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1"/>
  </p:notesMasterIdLst>
  <p:sldIdLst>
    <p:sldId id="455" r:id="rId2"/>
    <p:sldId id="564" r:id="rId3"/>
    <p:sldId id="613" r:id="rId4"/>
    <p:sldId id="616" r:id="rId5"/>
    <p:sldId id="574" r:id="rId6"/>
    <p:sldId id="615" r:id="rId7"/>
    <p:sldId id="618" r:id="rId8"/>
    <p:sldId id="619" r:id="rId9"/>
    <p:sldId id="626" r:id="rId10"/>
    <p:sldId id="620" r:id="rId11"/>
    <p:sldId id="621" r:id="rId12"/>
    <p:sldId id="622" r:id="rId13"/>
    <p:sldId id="627" r:id="rId14"/>
    <p:sldId id="624" r:id="rId15"/>
    <p:sldId id="625" r:id="rId16"/>
    <p:sldId id="633" r:id="rId17"/>
    <p:sldId id="628" r:id="rId18"/>
    <p:sldId id="629" r:id="rId19"/>
    <p:sldId id="638" r:id="rId20"/>
    <p:sldId id="635" r:id="rId21"/>
    <p:sldId id="631" r:id="rId22"/>
    <p:sldId id="632" r:id="rId23"/>
    <p:sldId id="639" r:id="rId24"/>
    <p:sldId id="645" r:id="rId25"/>
    <p:sldId id="640" r:id="rId26"/>
    <p:sldId id="644" r:id="rId27"/>
    <p:sldId id="641" r:id="rId28"/>
    <p:sldId id="642" r:id="rId29"/>
    <p:sldId id="643" r:id="rId30"/>
    <p:sldId id="650" r:id="rId31"/>
    <p:sldId id="649" r:id="rId32"/>
    <p:sldId id="646" r:id="rId33"/>
    <p:sldId id="647" r:id="rId34"/>
    <p:sldId id="648" r:id="rId35"/>
    <p:sldId id="608" r:id="rId36"/>
    <p:sldId id="609" r:id="rId37"/>
    <p:sldId id="636" r:id="rId38"/>
    <p:sldId id="637" r:id="rId39"/>
    <p:sldId id="612" r:id="rId4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/>
  </p:cmAuthor>
  <p:cmAuthor id="2" name="Leilas" initials="L" lastIdx="11" clrIdx="1">
    <p:extLst/>
  </p:cmAuthor>
  <p:cmAuthor id="3" name="Admin" initials="AAA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EBF4"/>
    <a:srgbClr val="4383DD"/>
    <a:srgbClr val="EFF5FB"/>
    <a:srgbClr val="9ED442"/>
    <a:srgbClr val="40A7E1"/>
    <a:srgbClr val="F5B144"/>
    <a:srgbClr val="F6DB7E"/>
    <a:srgbClr val="E9950D"/>
    <a:srgbClr val="79BFD5"/>
    <a:srgbClr val="0073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238" autoAdjust="0"/>
    <p:restoredTop sz="79398" autoAdjust="0"/>
  </p:normalViewPr>
  <p:slideViewPr>
    <p:cSldViewPr snapToGrid="0">
      <p:cViewPr varScale="1">
        <p:scale>
          <a:sx n="97" d="100"/>
          <a:sy n="97" d="100"/>
        </p:scale>
        <p:origin x="84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16.1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1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47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17796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21102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02226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91818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82874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46396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0310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54434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5547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90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0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0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0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0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1BBEA103-01B3-4143-A932-13EB2F5B9840}" type="slidenum">
              <a:rPr lang="ru-RU" altLang="ru-RU" sz="1300"/>
              <a:pPr eaLnBrk="1" hangingPunct="1"/>
              <a:t>2</a:t>
            </a:fld>
            <a:endParaRPr lang="ru-RU" altLang="ru-RU" sz="1300"/>
          </a:p>
        </p:txBody>
      </p:sp>
      <p:sp>
        <p:nvSpPr>
          <p:cNvPr id="41987" name="Rectangle 7"/>
          <p:cNvSpPr txBox="1">
            <a:spLocks noGrp="1" noChangeArrowheads="1"/>
          </p:cNvSpPr>
          <p:nvPr/>
        </p:nvSpPr>
        <p:spPr bwMode="auto">
          <a:xfrm>
            <a:off x="4024313" y="9721850"/>
            <a:ext cx="3078162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075" tIns="49538" rIns="99075" bIns="49538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AFA6423A-E5F4-44C6-9745-01F41AF7C12F}" type="slidenum">
              <a:rPr lang="ru-RU" altLang="ru-RU" sz="1200"/>
              <a:pPr algn="r" eaLnBrk="1" hangingPunct="1"/>
              <a:t>2</a:t>
            </a:fld>
            <a:endParaRPr lang="ru-RU" altLang="ru-RU" sz="1200"/>
          </a:p>
        </p:txBody>
      </p:sp>
      <p:sp>
        <p:nvSpPr>
          <p:cNvPr id="419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2875" y="768350"/>
            <a:ext cx="6819900" cy="3836988"/>
          </a:xfrm>
          <a:ln/>
        </p:spPr>
      </p:sp>
      <p:sp>
        <p:nvSpPr>
          <p:cNvPr id="419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2788" y="4860925"/>
            <a:ext cx="5683250" cy="450691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485775"/>
            <a:endParaRPr lang="ru-RU" altLang="ru-RU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53301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079431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3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758409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pPr/>
              <a:t>16.1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89901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40674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7754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85855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1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1847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1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4260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1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78448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1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0998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3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5.bin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5.bin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8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3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18600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"/>
          <p:cNvSpPr/>
          <p:nvPr/>
        </p:nvSpPr>
        <p:spPr>
          <a:xfrm>
            <a:off x="-1390" y="-5954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 sz="1600"/>
          </a:p>
        </p:txBody>
      </p:sp>
      <p:sp>
        <p:nvSpPr>
          <p:cNvPr id="25" name="Прямоугольник"/>
          <p:cNvSpPr/>
          <p:nvPr/>
        </p:nvSpPr>
        <p:spPr>
          <a:xfrm>
            <a:off x="-1389" y="6546820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>
            <a:extLst/>
          </a:blip>
          <a:srcRect l="39743" r="39743" b="36077"/>
          <a:stretch>
            <a:fillRect/>
          </a:stretch>
        </p:blipFill>
        <p:spPr>
          <a:xfrm>
            <a:off x="11386743" y="476085"/>
            <a:ext cx="523745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656616" y="6593157"/>
            <a:ext cx="260488" cy="256801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410766">
              <a:defRPr b="1">
                <a:solidFill>
                  <a:schemeClr val="bg1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81713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358424" y="6528386"/>
            <a:ext cx="894766" cy="211524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0" y="979487"/>
            <a:ext cx="12192000" cy="12700"/>
          </a:xfrm>
          <a:custGeom>
            <a:avLst/>
            <a:gdLst/>
            <a:ahLst/>
            <a:cxnLst/>
            <a:rect l="l" t="t" r="r" b="b"/>
            <a:pathLst>
              <a:path w="12192000" h="12700">
                <a:moveTo>
                  <a:pt x="0" y="12700"/>
                </a:moveTo>
                <a:lnTo>
                  <a:pt x="12192000" y="12700"/>
                </a:lnTo>
                <a:lnTo>
                  <a:pt x="12192000" y="0"/>
                </a:lnTo>
                <a:lnTo>
                  <a:pt x="0" y="0"/>
                </a:lnTo>
                <a:lnTo>
                  <a:pt x="0" y="12700"/>
                </a:lnTo>
                <a:close/>
              </a:path>
            </a:pathLst>
          </a:custGeom>
          <a:solidFill>
            <a:srgbClr val="FC065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0" y="954087"/>
            <a:ext cx="12192000" cy="28575"/>
          </a:xfrm>
          <a:custGeom>
            <a:avLst/>
            <a:gdLst/>
            <a:ahLst/>
            <a:cxnLst/>
            <a:rect l="l" t="t" r="r" b="b"/>
            <a:pathLst>
              <a:path w="12192000" h="28575">
                <a:moveTo>
                  <a:pt x="0" y="28575"/>
                </a:moveTo>
                <a:lnTo>
                  <a:pt x="12192000" y="28575"/>
                </a:lnTo>
                <a:lnTo>
                  <a:pt x="12192000" y="0"/>
                </a:lnTo>
                <a:lnTo>
                  <a:pt x="0" y="0"/>
                </a:lnTo>
                <a:lnTo>
                  <a:pt x="0" y="28575"/>
                </a:lnTo>
                <a:close/>
              </a:path>
            </a:pathLst>
          </a:custGeom>
          <a:solidFill>
            <a:srgbClr val="2F36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3590258" y="178815"/>
            <a:ext cx="5011483" cy="3308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34263"/>
                </a:solidFill>
                <a:latin typeface="Book Antiqua"/>
                <a:cs typeface="Book Antiqu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6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11111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81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453698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3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5"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252345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3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3"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676782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9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3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7"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76946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3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3"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38538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8812507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16.11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5" r:id="rId14"/>
    <p:sldLayoutId id="2147483667" r:id="rId15"/>
    <p:sldLayoutId id="2147483669" r:id="rId16"/>
    <p:sldLayoutId id="2147483696" r:id="rId17"/>
    <p:sldLayoutId id="2147483698" r:id="rId18"/>
    <p:sldLayoutId id="214748369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2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rosuchebnik.ru/product/vserossiyskie-proverochnye-raboty-matematika-4-klass/" TargetMode="External"/><Relationship Id="rId3" Type="http://schemas.openxmlformats.org/officeDocument/2006/relationships/tags" Target="../tags/tag20.xml"/><Relationship Id="rId7" Type="http://schemas.openxmlformats.org/officeDocument/2006/relationships/image" Target="../media/image23.emf"/><Relationship Id="rId12" Type="http://schemas.openxmlformats.org/officeDocument/2006/relationships/image" Target="../media/image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26.gif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emf"/><Relationship Id="rId4" Type="http://schemas.openxmlformats.org/officeDocument/2006/relationships/image" Target="../media/image29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5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gif"/><Relationship Id="rId5" Type="http://schemas.openxmlformats.org/officeDocument/2006/relationships/image" Target="../media/image28.jpe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emf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emf"/><Relationship Id="rId5" Type="http://schemas.openxmlformats.org/officeDocument/2006/relationships/image" Target="../media/image18.gif"/><Relationship Id="rId4" Type="http://schemas.openxmlformats.org/officeDocument/2006/relationships/image" Target="../media/image17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gif"/><Relationship Id="rId3" Type="http://schemas.openxmlformats.org/officeDocument/2006/relationships/image" Target="../media/image17.jpeg"/><Relationship Id="rId7" Type="http://schemas.openxmlformats.org/officeDocument/2006/relationships/image" Target="../media/image40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18.gif"/><Relationship Id="rId9" Type="http://schemas.openxmlformats.org/officeDocument/2006/relationships/image" Target="../media/image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.emf"/><Relationship Id="rId5" Type="http://schemas.openxmlformats.org/officeDocument/2006/relationships/image" Target="../media/image29.gif"/><Relationship Id="rId4" Type="http://schemas.openxmlformats.org/officeDocument/2006/relationships/image" Target="../media/image4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5.jpeg"/><Relationship Id="rId4" Type="http://schemas.openxmlformats.org/officeDocument/2006/relationships/image" Target="../media/image5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tags" Target="../tags/tag22.xml"/><Relationship Id="rId7" Type="http://schemas.openxmlformats.org/officeDocument/2006/relationships/image" Target="../media/image23.emf"/><Relationship Id="rId12" Type="http://schemas.openxmlformats.org/officeDocument/2006/relationships/image" Target="../media/image5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48.png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6.gi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9.gif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.emf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image" Target="../media/image58.jpeg"/><Relationship Id="rId7" Type="http://schemas.openxmlformats.org/officeDocument/2006/relationships/image" Target="../media/image18.gif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1.gif"/><Relationship Id="rId5" Type="http://schemas.openxmlformats.org/officeDocument/2006/relationships/image" Target="../media/image60.gif"/><Relationship Id="rId4" Type="http://schemas.openxmlformats.org/officeDocument/2006/relationships/image" Target="../media/image5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gif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.em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Relationship Id="rId9" Type="http://schemas.openxmlformats.org/officeDocument/2006/relationships/image" Target="../media/image5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.emf"/><Relationship Id="rId5" Type="http://schemas.openxmlformats.org/officeDocument/2006/relationships/image" Target="../media/image18.gif"/><Relationship Id="rId4" Type="http://schemas.openxmlformats.org/officeDocument/2006/relationships/image" Target="../media/image17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.emf"/><Relationship Id="rId5" Type="http://schemas.openxmlformats.org/officeDocument/2006/relationships/image" Target="../media/image18.gif"/><Relationship Id="rId4" Type="http://schemas.openxmlformats.org/officeDocument/2006/relationships/image" Target="../media/image17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image" Target="../media/image26.gif"/><Relationship Id="rId7" Type="http://schemas.openxmlformats.org/officeDocument/2006/relationships/image" Target="../media/image72.gif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1.gif"/><Relationship Id="rId5" Type="http://schemas.openxmlformats.org/officeDocument/2006/relationships/image" Target="../media/image70.jpeg"/><Relationship Id="rId4" Type="http://schemas.openxmlformats.org/officeDocument/2006/relationships/image" Target="../media/image45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.emf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43.jpeg"/><Relationship Id="rId7" Type="http://schemas.openxmlformats.org/officeDocument/2006/relationships/hyperlink" Target="https://clck.ru/Y8iF3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3.jpeg"/><Relationship Id="rId5" Type="http://schemas.openxmlformats.org/officeDocument/2006/relationships/image" Target="../media/image51.jpeg"/><Relationship Id="rId10" Type="http://schemas.openxmlformats.org/officeDocument/2006/relationships/image" Target="../media/image5.emf"/><Relationship Id="rId4" Type="http://schemas.openxmlformats.org/officeDocument/2006/relationships/image" Target="../media/image28.jpeg"/><Relationship Id="rId9" Type="http://schemas.openxmlformats.org/officeDocument/2006/relationships/image" Target="../media/image75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image" Target="../media/image57.jpeg"/><Relationship Id="rId7" Type="http://schemas.openxmlformats.org/officeDocument/2006/relationships/image" Target="../media/image75.pn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8.png"/><Relationship Id="rId5" Type="http://schemas.openxmlformats.org/officeDocument/2006/relationships/hyperlink" Target="https://clck.ru/Y8iPZ" TargetMode="External"/><Relationship Id="rId4" Type="http://schemas.openxmlformats.org/officeDocument/2006/relationships/image" Target="../media/image77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s://clck.ru/Y8m8f" TargetMode="External"/><Relationship Id="rId3" Type="http://schemas.openxmlformats.org/officeDocument/2006/relationships/image" Target="../media/image79.jpe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clck.ru/Y8koX" TargetMode="External"/><Relationship Id="rId11" Type="http://schemas.openxmlformats.org/officeDocument/2006/relationships/image" Target="../media/image5.emf"/><Relationship Id="rId5" Type="http://schemas.openxmlformats.org/officeDocument/2006/relationships/image" Target="../media/image81.jpeg"/><Relationship Id="rId10" Type="http://schemas.openxmlformats.org/officeDocument/2006/relationships/image" Target="../media/image75.png"/><Relationship Id="rId4" Type="http://schemas.openxmlformats.org/officeDocument/2006/relationships/image" Target="../media/image80.jpeg"/><Relationship Id="rId9" Type="http://schemas.openxmlformats.org/officeDocument/2006/relationships/image" Target="../media/image8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s://shop.prosv.ru/" TargetMode="External"/><Relationship Id="rId5" Type="http://schemas.openxmlformats.org/officeDocument/2006/relationships/image" Target="../media/image83.png"/><Relationship Id="rId4" Type="http://schemas.openxmlformats.org/officeDocument/2006/relationships/hyperlink" Target="https://uchitel.club/" TargetMode="Externa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hyperlink" Target="mailto:Ozubairova@prosv.ru" TargetMode="External"/><Relationship Id="rId11" Type="http://schemas.openxmlformats.org/officeDocument/2006/relationships/image" Target="../media/image84.gif"/><Relationship Id="rId5" Type="http://schemas.openxmlformats.org/officeDocument/2006/relationships/notesSlide" Target="../notesSlides/notesSlide22.xml"/><Relationship Id="rId10" Type="http://schemas.openxmlformats.org/officeDocument/2006/relationships/hyperlink" Target="https://shop.prosv.ru/formirovanie-funkcionalnoj-gramotnosti-sbornik-zadach-po-russkomu-yazyku-dlya-8-11-klassov2781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mailto:vopros@prosv.ru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3.xml"/><Relationship Id="rId7" Type="http://schemas.openxmlformats.org/officeDocument/2006/relationships/image" Target="../media/image1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9.png"/><Relationship Id="rId5" Type="http://schemas.openxmlformats.org/officeDocument/2006/relationships/image" Target="../media/image18.gif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5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9.png"/><Relationship Id="rId5" Type="http://schemas.openxmlformats.org/officeDocument/2006/relationships/image" Target="../media/image18.gif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1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22.png"/><Relationship Id="rId10" Type="http://schemas.openxmlformats.org/officeDocument/2006/relationships/image" Target="../media/image21.gif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78605" y="4097378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5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2172" y="4251621"/>
            <a:ext cx="11467650" cy="398571"/>
          </a:xfr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дготовка к ВПР: «натаскивание» или системная работа?</a:t>
            </a:r>
            <a:endParaRPr lang="ru-RU" sz="2800" b="1" dirty="0">
              <a:solidFill>
                <a:schemeClr val="accent5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1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237315" y="5202436"/>
            <a:ext cx="56632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b="1" dirty="0" smtClean="0">
                <a:solidFill>
                  <a:srgbClr val="294790"/>
                </a:solidFill>
              </a:rPr>
              <a:t>Зубаирова Оксана Владимировна, </a:t>
            </a:r>
          </a:p>
          <a:p>
            <a:pPr lvl="0">
              <a:spcBef>
                <a:spcPct val="0"/>
              </a:spcBef>
              <a:defRPr/>
            </a:pPr>
            <a:r>
              <a:rPr lang="ru-RU" b="1" dirty="0" smtClean="0">
                <a:solidFill>
                  <a:srgbClr val="294790"/>
                </a:solidFill>
              </a:rPr>
              <a:t>методист – эксперт ГК «Просвещение»</a:t>
            </a:r>
            <a:endParaRPr lang="ru-RU" b="1" dirty="0">
              <a:solidFill>
                <a:srgbClr val="294790"/>
              </a:solidFill>
            </a:endParaRPr>
          </a:p>
        </p:txBody>
      </p:sp>
      <p:sp>
        <p:nvSpPr>
          <p:cNvPr id="65" name="Rectangle 11"/>
          <p:cNvSpPr>
            <a:spLocks noChangeArrowheads="1"/>
          </p:cNvSpPr>
          <p:nvPr/>
        </p:nvSpPr>
        <p:spPr bwMode="auto">
          <a:xfrm>
            <a:off x="7550593" y="1431865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Rectangle 29"/>
          <p:cNvSpPr>
            <a:spLocks noChangeArrowheads="1"/>
          </p:cNvSpPr>
          <p:nvPr/>
        </p:nvSpPr>
        <p:spPr bwMode="auto">
          <a:xfrm>
            <a:off x="9028046" y="144164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9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/>
          <a:srcRect l="50902" t="25017" r="25439" b="50441"/>
          <a:stretch/>
        </p:blipFill>
        <p:spPr>
          <a:xfrm>
            <a:off x="976165" y="1140396"/>
            <a:ext cx="7114814" cy="4612571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7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518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9637" y="2973484"/>
            <a:ext cx="812363" cy="789239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49040"/>
            <a:ext cx="812363" cy="773033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3588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828799" y="200960"/>
            <a:ext cx="6696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</a:rPr>
              <a:t>Моделирующая деятельность</a:t>
            </a:r>
            <a:endParaRPr lang="ru-RU" sz="28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2" descr="Я учусь считать. 1 класс. Рабочая тетрадь.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773651" y="318507"/>
            <a:ext cx="1814321" cy="235559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12819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/>
          <a:srcRect l="50902" t="25017" r="25439" b="50441"/>
          <a:stretch/>
        </p:blipFill>
        <p:spPr>
          <a:xfrm>
            <a:off x="744415" y="777080"/>
            <a:ext cx="7114814" cy="4612571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1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518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9637" y="2973484"/>
            <a:ext cx="812363" cy="789239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49040"/>
            <a:ext cx="812363" cy="773033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3588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828799" y="200960"/>
            <a:ext cx="6696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</a:rPr>
              <a:t>Моделирование при решение задач </a:t>
            </a:r>
            <a:endParaRPr lang="ru-RU" sz="28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2" descr="Я учусь считать. 1 класс. Рабочая тетрадь.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773651" y="318507"/>
            <a:ext cx="1814321" cy="2355594"/>
          </a:xfrm>
          <a:prstGeom prst="rect">
            <a:avLst/>
          </a:prstGeom>
          <a:noFill/>
        </p:spPr>
      </p:pic>
      <p:sp>
        <p:nvSpPr>
          <p:cNvPr id="5" name="Прямоугольник 4"/>
          <p:cNvSpPr/>
          <p:nvPr/>
        </p:nvSpPr>
        <p:spPr>
          <a:xfrm>
            <a:off x="7137927" y="3012269"/>
            <a:ext cx="700550" cy="4165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5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595900" y="3015524"/>
            <a:ext cx="304800" cy="4165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5998833" y="2312313"/>
            <a:ext cx="304800" cy="4165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9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27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/>
          <a:srcRect l="50902" t="25017" r="25439" b="50441"/>
          <a:stretch/>
        </p:blipFill>
        <p:spPr>
          <a:xfrm>
            <a:off x="744415" y="777080"/>
            <a:ext cx="7114814" cy="4612571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5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518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9637" y="2973484"/>
            <a:ext cx="812363" cy="789239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49040"/>
            <a:ext cx="812363" cy="773033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3588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828799" y="200960"/>
            <a:ext cx="6696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</a:rPr>
              <a:t>Моделирование при решение задач </a:t>
            </a:r>
            <a:endParaRPr lang="ru-RU" sz="28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2" descr="Я учусь считать. 1 класс. Рабочая тетрадь.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773651" y="318507"/>
            <a:ext cx="1814321" cy="2355594"/>
          </a:xfrm>
          <a:prstGeom prst="rect">
            <a:avLst/>
          </a:prstGeom>
          <a:noFill/>
        </p:spPr>
      </p:pic>
      <p:sp>
        <p:nvSpPr>
          <p:cNvPr id="5" name="Прямоугольник 4"/>
          <p:cNvSpPr/>
          <p:nvPr/>
        </p:nvSpPr>
        <p:spPr>
          <a:xfrm>
            <a:off x="7137927" y="3012269"/>
            <a:ext cx="700550" cy="4165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5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595900" y="3015524"/>
            <a:ext cx="304800" cy="4165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5726116" y="2333361"/>
            <a:ext cx="764133" cy="361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9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5844301" y="3673776"/>
            <a:ext cx="549700" cy="3828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+9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2133599" y="4236862"/>
            <a:ext cx="3254310" cy="5195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     5 +  9  =  1 4 (к.)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2444008" y="4864764"/>
            <a:ext cx="892750" cy="4120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 1  4</a:t>
            </a:r>
            <a:endParaRPr lang="ru-RU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460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8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6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sz="1800" dirty="0" smtClean="0">
              <a:solidFill>
                <a:schemeClr val="tx1"/>
              </a:solidFill>
              <a:hlinkClick r:id="rId8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pPr marL="0" indent="0">
              <a:buNone/>
            </a:pPr>
            <a:r>
              <a:rPr lang="en-US" u="sng" dirty="0" smtClean="0">
                <a:hlinkClick r:id=""/>
              </a:rPr>
              <a:t>     </a:t>
            </a:r>
            <a:endParaRPr lang="ru-RU" sz="1800" dirty="0" smtClean="0">
              <a:solidFill>
                <a:schemeClr val="tx1"/>
              </a:solidFill>
              <a:hlinkClick r:id="rId8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309934" y="180722"/>
            <a:ext cx="11520000" cy="648642"/>
          </a:xfrm>
        </p:spPr>
        <p:txBody>
          <a:bodyPr/>
          <a:lstStyle/>
          <a:p>
            <a:r>
              <a:rPr lang="ru-RU" sz="2800" dirty="0" smtClean="0"/>
              <a:t>        Моделирующая деятельность</a:t>
            </a:r>
            <a:endParaRPr lang="ru-RU" sz="2800" dirty="0"/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9"/>
          <a:srcRect l="22461" t="10416" r="21289" b="54167"/>
          <a:stretch>
            <a:fillRect/>
          </a:stretch>
        </p:blipFill>
        <p:spPr bwMode="auto">
          <a:xfrm>
            <a:off x="573959" y="1221440"/>
            <a:ext cx="6858048" cy="242889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1023902" y="4000504"/>
            <a:ext cx="6643734" cy="164307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73959" y="4391332"/>
            <a:ext cx="709367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buAutoNum type="arabicPeriod"/>
            </a:pPr>
            <a:r>
              <a:rPr lang="ru-RU" sz="2000" dirty="0" smtClean="0"/>
              <a:t>Сколько дней в неделю показывают сериал?</a:t>
            </a:r>
          </a:p>
          <a:p>
            <a:pPr marL="457200" indent="-457200">
              <a:buAutoNum type="arabicPeriod"/>
            </a:pPr>
            <a:r>
              <a:rPr lang="ru-RU" sz="2000" dirty="0" smtClean="0"/>
              <a:t>Сколько всего серий?</a:t>
            </a:r>
          </a:p>
          <a:p>
            <a:pPr marL="457200" indent="-457200">
              <a:buAutoNum type="arabicPeriod"/>
            </a:pPr>
            <a:r>
              <a:rPr lang="ru-RU" sz="2000" dirty="0" smtClean="0"/>
              <a:t>Как узнать, сколько недель будет идти сериал?</a:t>
            </a:r>
          </a:p>
          <a:p>
            <a:pPr marL="457200" indent="-457200">
              <a:buAutoNum type="arabicPeriod"/>
            </a:pPr>
            <a:r>
              <a:rPr lang="ru-RU" sz="2000" dirty="0" smtClean="0"/>
              <a:t>29:3 = 9 (ост. 2)</a:t>
            </a:r>
          </a:p>
          <a:p>
            <a:pPr marL="457200" indent="-457200">
              <a:buAutoNum type="arabicPeriod"/>
            </a:pPr>
            <a:r>
              <a:rPr lang="ru-RU" sz="2000" dirty="0" smtClean="0"/>
              <a:t>Следовательно, 9 недель по 3 серии и на 10 неделе 2 серии</a:t>
            </a:r>
          </a:p>
        </p:txBody>
      </p:sp>
      <p:graphicFrame>
        <p:nvGraphicFramePr>
          <p:cNvPr id="33" name="object 14"/>
          <p:cNvGraphicFramePr>
            <a:graphicFrameLocks noGrp="1"/>
          </p:cNvGraphicFramePr>
          <p:nvPr>
            <p:extLst/>
          </p:nvPr>
        </p:nvGraphicFramePr>
        <p:xfrm>
          <a:off x="165649" y="3831627"/>
          <a:ext cx="11857567" cy="289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181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75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8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424499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411888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418194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383996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391886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391885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333829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319314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</a:tblGrid>
              <a:tr h="2552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9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774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4" name="Минус 33"/>
          <p:cNvSpPr/>
          <p:nvPr/>
        </p:nvSpPr>
        <p:spPr>
          <a:xfrm rot="5400000" flipV="1">
            <a:off x="1030638" y="3725583"/>
            <a:ext cx="809978" cy="443857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5" name="Минус 34"/>
          <p:cNvSpPr/>
          <p:nvPr/>
        </p:nvSpPr>
        <p:spPr>
          <a:xfrm rot="5400000" flipV="1">
            <a:off x="2239464" y="3733993"/>
            <a:ext cx="809978" cy="443857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6" name="Минус 35"/>
          <p:cNvSpPr/>
          <p:nvPr/>
        </p:nvSpPr>
        <p:spPr>
          <a:xfrm rot="5400000" flipV="1">
            <a:off x="3523789" y="3723177"/>
            <a:ext cx="809978" cy="443857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7" name="Минус 36"/>
          <p:cNvSpPr/>
          <p:nvPr/>
        </p:nvSpPr>
        <p:spPr>
          <a:xfrm rot="5400000" flipV="1">
            <a:off x="4808114" y="3753712"/>
            <a:ext cx="809978" cy="443857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8" name="Минус 37"/>
          <p:cNvSpPr/>
          <p:nvPr/>
        </p:nvSpPr>
        <p:spPr>
          <a:xfrm rot="5400000" flipV="1">
            <a:off x="6092439" y="3738199"/>
            <a:ext cx="809978" cy="443857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9" name="Минус 38"/>
          <p:cNvSpPr/>
          <p:nvPr/>
        </p:nvSpPr>
        <p:spPr>
          <a:xfrm rot="5400000" flipV="1">
            <a:off x="7300564" y="3733994"/>
            <a:ext cx="809978" cy="443857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40" name="Минус 39"/>
          <p:cNvSpPr/>
          <p:nvPr/>
        </p:nvSpPr>
        <p:spPr>
          <a:xfrm rot="5400000" flipV="1">
            <a:off x="8577236" y="3757719"/>
            <a:ext cx="809978" cy="443857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41" name="Минус 40"/>
          <p:cNvSpPr/>
          <p:nvPr/>
        </p:nvSpPr>
        <p:spPr>
          <a:xfrm rot="5400000" flipV="1">
            <a:off x="9813754" y="3753712"/>
            <a:ext cx="809978" cy="443857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42" name="Минус 41"/>
          <p:cNvSpPr/>
          <p:nvPr/>
        </p:nvSpPr>
        <p:spPr>
          <a:xfrm rot="5400000" flipV="1">
            <a:off x="10980624" y="3730661"/>
            <a:ext cx="809978" cy="443857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A1524F71-128F-4786-A02A-7C7A7BCA8F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9498" y="418125"/>
            <a:ext cx="1845182" cy="243627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2" name="Picture 2" descr="http://qrcoder.ru/code/?https%3A%2F%2Frosuchebnik.ru%2Fproduct%2Fvserossiyskie-proverochnye-raboty-matematika-4-klass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2629" y="1724038"/>
            <a:ext cx="1209582" cy="1209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Группа 22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48" name="Рисунок 4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sp>
        <p:nvSpPr>
          <p:cNvPr id="49" name="Прямоугольник 48"/>
          <p:cNvSpPr/>
          <p:nvPr/>
        </p:nvSpPr>
        <p:spPr>
          <a:xfrm>
            <a:off x="153623" y="3619618"/>
            <a:ext cx="11876809" cy="665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2462644" y="2535382"/>
            <a:ext cx="2161310" cy="311727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9: 3 =9 (ост.2)</a:t>
            </a:r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1659079" y="2126673"/>
            <a:ext cx="2161310" cy="311727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9 </a:t>
            </a:r>
            <a:endParaRPr lang="ru-RU" dirty="0"/>
          </a:p>
        </p:txBody>
      </p:sp>
      <p:grpSp>
        <p:nvGrpSpPr>
          <p:cNvPr id="52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53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6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7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9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0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1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2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3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4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6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71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7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66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7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8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9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0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28711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1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9" grpId="0" animBg="1"/>
      <p:bldP spid="50" grpId="0" animBg="1"/>
      <p:bldP spid="5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20773" t="62023" r="52741" b="18949"/>
          <a:stretch/>
        </p:blipFill>
        <p:spPr>
          <a:xfrm>
            <a:off x="225400" y="993593"/>
            <a:ext cx="4946380" cy="266097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428825" y="250560"/>
            <a:ext cx="11520000" cy="648642"/>
          </a:xfrm>
        </p:spPr>
        <p:txBody>
          <a:bodyPr/>
          <a:lstStyle/>
          <a:p>
            <a:r>
              <a:rPr lang="ru-RU" sz="2800" dirty="0" smtClean="0"/>
              <a:t>ВПР по математике:</a:t>
            </a:r>
            <a:r>
              <a:rPr lang="en-US" sz="2800" dirty="0" smtClean="0"/>
              <a:t> </a:t>
            </a:r>
            <a:r>
              <a:rPr lang="ru-RU" sz="2800" dirty="0" smtClean="0"/>
              <a:t>решаем задачи, моделируя</a:t>
            </a:r>
            <a:endParaRPr lang="ru-RU" sz="2800" dirty="0"/>
          </a:p>
        </p:txBody>
      </p:sp>
      <p:sp>
        <p:nvSpPr>
          <p:cNvPr id="6" name="Овал 5"/>
          <p:cNvSpPr/>
          <p:nvPr/>
        </p:nvSpPr>
        <p:spPr>
          <a:xfrm>
            <a:off x="4652171" y="3055396"/>
            <a:ext cx="2436579" cy="2354588"/>
          </a:xfrm>
          <a:prstGeom prst="ellipse">
            <a:avLst/>
          </a:prstGeom>
          <a:noFill/>
          <a:ln w="28575">
            <a:solidFill>
              <a:srgbClr val="4249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noFill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127450" y="3230244"/>
            <a:ext cx="296562" cy="28420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М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832549" y="4342367"/>
            <a:ext cx="296562" cy="28420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С</a:t>
            </a:r>
            <a:endParaRPr lang="ru-RU" sz="1600" b="1" dirty="0" smtClean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589447" y="3954935"/>
            <a:ext cx="296562" cy="28420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</a:t>
            </a:r>
          </a:p>
        </p:txBody>
      </p:sp>
      <p:sp>
        <p:nvSpPr>
          <p:cNvPr id="17" name="Минус 16"/>
          <p:cNvSpPr/>
          <p:nvPr/>
        </p:nvSpPr>
        <p:spPr>
          <a:xfrm rot="4421294" flipV="1">
            <a:off x="5321898" y="2882955"/>
            <a:ext cx="368415" cy="157108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8" name="Минус 17"/>
          <p:cNvSpPr/>
          <p:nvPr/>
        </p:nvSpPr>
        <p:spPr>
          <a:xfrm rot="5400000" flipV="1">
            <a:off x="5697018" y="2787964"/>
            <a:ext cx="427122" cy="185902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9" name="Минус 18"/>
          <p:cNvSpPr/>
          <p:nvPr/>
        </p:nvSpPr>
        <p:spPr>
          <a:xfrm rot="6516288" flipV="1">
            <a:off x="6144240" y="2838041"/>
            <a:ext cx="409670" cy="219615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0" name="Минус 19"/>
          <p:cNvSpPr/>
          <p:nvPr/>
        </p:nvSpPr>
        <p:spPr>
          <a:xfrm rot="7358104" flipV="1">
            <a:off x="6576648" y="3056384"/>
            <a:ext cx="398045" cy="249033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1" name="Минус 20"/>
          <p:cNvSpPr/>
          <p:nvPr/>
        </p:nvSpPr>
        <p:spPr>
          <a:xfrm rot="8239140">
            <a:off x="6837202" y="3477138"/>
            <a:ext cx="421547" cy="209615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2" name="Минус 21"/>
          <p:cNvSpPr/>
          <p:nvPr/>
        </p:nvSpPr>
        <p:spPr>
          <a:xfrm rot="10325974" flipV="1">
            <a:off x="7057111" y="3930971"/>
            <a:ext cx="390056" cy="262270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3" name="Минус 22"/>
          <p:cNvSpPr/>
          <p:nvPr/>
        </p:nvSpPr>
        <p:spPr>
          <a:xfrm rot="1976840" flipV="1">
            <a:off x="4524347" y="3383409"/>
            <a:ext cx="406742" cy="254698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4" name="Минус 23"/>
          <p:cNvSpPr/>
          <p:nvPr/>
        </p:nvSpPr>
        <p:spPr>
          <a:xfrm rot="12108808" flipV="1">
            <a:off x="4381356" y="3974629"/>
            <a:ext cx="333632" cy="174952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5" name="Минус 24"/>
          <p:cNvSpPr/>
          <p:nvPr/>
        </p:nvSpPr>
        <p:spPr>
          <a:xfrm rot="10301526" flipV="1">
            <a:off x="4446974" y="4533956"/>
            <a:ext cx="318816" cy="230992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7" name="Минус 26"/>
          <p:cNvSpPr/>
          <p:nvPr/>
        </p:nvSpPr>
        <p:spPr>
          <a:xfrm rot="8452243" flipV="1">
            <a:off x="4704918" y="5050097"/>
            <a:ext cx="390427" cy="192282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8" name="Минус 27"/>
          <p:cNvSpPr/>
          <p:nvPr/>
        </p:nvSpPr>
        <p:spPr>
          <a:xfrm rot="7072491" flipV="1">
            <a:off x="5223862" y="5379291"/>
            <a:ext cx="400298" cy="176642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9" name="Минус 28"/>
          <p:cNvSpPr/>
          <p:nvPr/>
        </p:nvSpPr>
        <p:spPr>
          <a:xfrm rot="5400000" flipV="1">
            <a:off x="5732606" y="5450230"/>
            <a:ext cx="428932" cy="217660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0" name="Минус 29"/>
          <p:cNvSpPr/>
          <p:nvPr/>
        </p:nvSpPr>
        <p:spPr>
          <a:xfrm rot="3205034" flipV="1">
            <a:off x="6234306" y="5310696"/>
            <a:ext cx="425799" cy="251435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2" name="Минус 31"/>
          <p:cNvSpPr/>
          <p:nvPr/>
        </p:nvSpPr>
        <p:spPr>
          <a:xfrm rot="1815035" flipV="1">
            <a:off x="6645365" y="4979607"/>
            <a:ext cx="495442" cy="286584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3" name="Минус 32"/>
          <p:cNvSpPr/>
          <p:nvPr/>
        </p:nvSpPr>
        <p:spPr>
          <a:xfrm rot="13661381">
            <a:off x="4850013" y="3093728"/>
            <a:ext cx="408977" cy="162272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4" name="Минус 33"/>
          <p:cNvSpPr/>
          <p:nvPr/>
        </p:nvSpPr>
        <p:spPr>
          <a:xfrm rot="11032439" flipH="1" flipV="1">
            <a:off x="7020831" y="4433285"/>
            <a:ext cx="374678" cy="239078"/>
          </a:xfrm>
          <a:prstGeom prst="mathMinus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407935" y="2582695"/>
            <a:ext cx="412830" cy="224230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407935" y="3251203"/>
            <a:ext cx="412830" cy="185351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1</a:t>
            </a:r>
          </a:p>
        </p:txBody>
      </p:sp>
      <p:pic>
        <p:nvPicPr>
          <p:cNvPr id="39" name="Picture 4" descr="Изображение Готовимся к Всероссийской проверочной работе. Математика. Рабочая тетрадь. 4 класс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52" y="1077407"/>
            <a:ext cx="1819876" cy="2388858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http://qrcoder.ru/code/?https%3A%2F%2Fshop.prosv.ru%2Fkatalog%3Futm_source%3Drosuchebnikru%26utm_medium%3Dheader%26utm_campaign%3Dorganic-Sendsay_main-page%23%2Forderby%3D11%26sFilters%3D21%2156334%3B4%212303%3B13%212961%2C93341%2C2965%3B&amp;8&amp;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8903" y="3600869"/>
            <a:ext cx="1640063" cy="164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Группа 30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3" name="Рисунок 5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54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55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6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7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8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9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0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1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3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4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6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67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73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74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68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9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0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2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7077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/>
      <p:bldP spid="14" grpId="0"/>
      <p:bldP spid="15" grpId="0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7" grpId="0" animBg="1"/>
      <p:bldP spid="28" grpId="0" animBg="1"/>
      <p:bldP spid="29" grpId="0" animBg="1"/>
      <p:bldP spid="30" grpId="0" animBg="1"/>
      <p:bldP spid="32" grpId="0" animBg="1"/>
      <p:bldP spid="33" grpId="0" animBg="1"/>
      <p:bldP spid="34" grpId="0" animBg="1"/>
      <p:bldP spid="35" grpId="0" animBg="1"/>
      <p:bldP spid="3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202144" y="200491"/>
            <a:ext cx="11520000" cy="648642"/>
          </a:xfrm>
        </p:spPr>
        <p:txBody>
          <a:bodyPr/>
          <a:lstStyle/>
          <a:p>
            <a:r>
              <a:rPr lang="ru-RU" dirty="0"/>
              <a:t>ВПР по математике:</a:t>
            </a:r>
            <a:r>
              <a:rPr lang="en-US" dirty="0"/>
              <a:t> </a:t>
            </a:r>
            <a:r>
              <a:rPr lang="ru-RU" dirty="0"/>
              <a:t>решаем </a:t>
            </a:r>
            <a:r>
              <a:rPr lang="ru-RU" dirty="0" smtClean="0"/>
              <a:t>задачи, работаем с информацией</a:t>
            </a:r>
            <a:endParaRPr lang="ru-RU" dirty="0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3"/>
          <a:srcRect l="51332" t="70811" r="26120" b="21306"/>
          <a:stretch/>
        </p:blipFill>
        <p:spPr>
          <a:xfrm>
            <a:off x="4747489" y="738909"/>
            <a:ext cx="4710547" cy="1029297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4"/>
          <a:srcRect l="22793" t="18061" r="47554" b="38325"/>
          <a:stretch/>
        </p:blipFill>
        <p:spPr>
          <a:xfrm>
            <a:off x="4581237" y="1828800"/>
            <a:ext cx="4277258" cy="4572425"/>
          </a:xfrm>
          <a:prstGeom prst="rect">
            <a:avLst/>
          </a:prstGeom>
        </p:spPr>
      </p:pic>
      <p:pic>
        <p:nvPicPr>
          <p:cNvPr id="39" name="Picture 4" descr="Изображение Готовимся к Всероссийской проверочной работе. Математика. Рабочая тетрадь. 4 класс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7579" y="363541"/>
            <a:ext cx="1845192" cy="2422089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http://qrcoder.ru/code/?https%3A%2F%2Fshop.prosv.ru%2Fkatalog%3Futm_source%3Drosuchebnikru%26utm_medium%3Dheader%26utm_campaign%3Dorganic-Sendsay_main-page%23%2Forderby%3D11%26sFilters%3D21%2156334%3B4%212303%3B13%212961%2C93341%2C2965%3B&amp;8&amp;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7667" y="3274353"/>
            <a:ext cx="1325016" cy="1325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3"/>
          <a:srcRect l="49165" t="24486" r="25802" b="28958"/>
          <a:stretch/>
        </p:blipFill>
        <p:spPr>
          <a:xfrm>
            <a:off x="211872" y="702088"/>
            <a:ext cx="4425991" cy="514453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9" name="Группа 8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2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8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9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3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4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50" name="Рисунок 4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58649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-1102" t="-428" r="10333" b="-1"/>
          <a:stretch/>
        </p:blipFill>
        <p:spPr>
          <a:xfrm>
            <a:off x="318167" y="961429"/>
            <a:ext cx="4657235" cy="511628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901976" y="114697"/>
            <a:ext cx="7544058" cy="600168"/>
          </a:xfrm>
        </p:spPr>
        <p:txBody>
          <a:bodyPr/>
          <a:lstStyle/>
          <a:p>
            <a:r>
              <a:rPr lang="ru-RU" dirty="0" smtClean="0"/>
              <a:t>Работа с текстом и информацией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-330" r="10571"/>
          <a:stretch/>
        </p:blipFill>
        <p:spPr>
          <a:xfrm>
            <a:off x="6654097" y="643022"/>
            <a:ext cx="4659086" cy="575310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84110" y="908203"/>
            <a:ext cx="1506584" cy="19037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8" name="Группа 7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24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7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3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4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8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80167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948129" y="151498"/>
            <a:ext cx="11520000" cy="648642"/>
          </a:xfrm>
        </p:spPr>
        <p:txBody>
          <a:bodyPr/>
          <a:lstStyle/>
          <a:p>
            <a:r>
              <a:rPr lang="ru-RU" sz="2400" dirty="0" smtClean="0"/>
              <a:t> Работа с информацией. Интерпретация</a:t>
            </a:r>
            <a:endParaRPr lang="ru-RU" sz="2400" dirty="0"/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2"/>
          <a:srcRect l="22461" t="25000" r="28906" b="38541"/>
          <a:stretch>
            <a:fillRect/>
          </a:stretch>
        </p:blipFill>
        <p:spPr bwMode="auto">
          <a:xfrm>
            <a:off x="343114" y="1239810"/>
            <a:ext cx="6429420" cy="271120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9091" name="Picture 3"/>
          <p:cNvPicPr>
            <a:picLocks noChangeAspect="1" noChangeArrowheads="1"/>
          </p:cNvPicPr>
          <p:nvPr/>
        </p:nvPicPr>
        <p:blipFill rotWithShape="1">
          <a:blip r:embed="rId3"/>
          <a:srcRect l="23859" t="38319" r="26802" b="37500"/>
          <a:stretch/>
        </p:blipFill>
        <p:spPr bwMode="auto">
          <a:xfrm>
            <a:off x="334433" y="3954455"/>
            <a:ext cx="6438101" cy="178595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Овал 9"/>
          <p:cNvSpPr/>
          <p:nvPr/>
        </p:nvSpPr>
        <p:spPr>
          <a:xfrm>
            <a:off x="986056" y="3954455"/>
            <a:ext cx="357190" cy="285752"/>
          </a:xfrm>
          <a:prstGeom prst="ellipse">
            <a:avLst/>
          </a:prstGeom>
          <a:noFill/>
          <a:ln w="28575">
            <a:solidFill>
              <a:srgbClr val="2F36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057494" y="4954587"/>
            <a:ext cx="53657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2F3696"/>
                </a:solidFill>
              </a:rPr>
              <a:t>Автор сравнивает листья с ладьёй: листья попадают в ручей и плывут, а черешки похожи на паруса</a:t>
            </a:r>
            <a:endParaRPr lang="ru-RU" dirty="0">
              <a:solidFill>
                <a:srgbClr val="2F3696"/>
              </a:solidFill>
            </a:endParaRPr>
          </a:p>
        </p:txBody>
      </p:sp>
      <p:pic>
        <p:nvPicPr>
          <p:cNvPr id="12" name="Picture 2" descr="C:\Users\Marina\AppData\Local\Microsoft\Windows\Temporary Internet Files\Content.IE5\KFQZFR40\ВПР_русский_обложка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64884" y="844183"/>
            <a:ext cx="2633204" cy="3384194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2" descr="http://qrcoder.ru/code/?https%3A%2F%2Frosuchebnik.ru%2Fproduct%2Frusskiy-yazyk-4-klass-vserossiyskaya-proverochnaya-rabota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8181" y="4480405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Группа 13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9" name="Рисунок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30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9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50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04668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  <a:p>
            <a:endParaRPr lang="ru-RU" u="sng" dirty="0" smtClean="0">
              <a:hlinkClick r:id="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470314" y="242108"/>
            <a:ext cx="11520000" cy="648642"/>
          </a:xfrm>
        </p:spPr>
        <p:txBody>
          <a:bodyPr/>
          <a:lstStyle/>
          <a:p>
            <a:r>
              <a:rPr lang="ru-RU" sz="2800" spc="-1" dirty="0">
                <a:solidFill>
                  <a:srgbClr val="294790"/>
                </a:solidFill>
                <a:uFill>
                  <a:solidFill>
                    <a:srgbClr val="FFFFFF"/>
                  </a:solidFill>
                </a:uFill>
              </a:rPr>
              <a:t>Интерпретация </a:t>
            </a:r>
            <a:r>
              <a:rPr lang="ru-RU" sz="2800" spc="-1" dirty="0" smtClean="0">
                <a:solidFill>
                  <a:srgbClr val="294790"/>
                </a:solidFill>
                <a:uFill>
                  <a:solidFill>
                    <a:srgbClr val="FFFFFF"/>
                  </a:solidFill>
                </a:uFill>
              </a:rPr>
              <a:t>информации</a:t>
            </a:r>
            <a:endParaRPr lang="ru-RU" sz="2800" dirty="0"/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/>
          <a:srcRect l="23047" t="20833" r="28320" b="38542"/>
          <a:stretch>
            <a:fillRect/>
          </a:stretch>
        </p:blipFill>
        <p:spPr bwMode="auto">
          <a:xfrm>
            <a:off x="115029" y="920364"/>
            <a:ext cx="4432335" cy="208266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2" descr="C:\Users\Marina\AppData\Local\Microsoft\Windows\Temporary Internet Files\Content.IE5\KFQZFR40\ВПР_русский_обложка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895" y="4073271"/>
            <a:ext cx="1723840" cy="2215479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2" descr="http://qrcoder.ru/code/?https%3A%2F%2Frosuchebnik.ru%2Fproduct%2Frusskiy-yazyk-4-klass-vserossiyskaya-proverochnaya-rabota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8506" y="5103893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/>
          <a:srcRect l="53719" t="44448" r="16712" b="14626"/>
          <a:stretch/>
        </p:blipFill>
        <p:spPr>
          <a:xfrm>
            <a:off x="4505219" y="994999"/>
            <a:ext cx="3523214" cy="304768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6"/>
          <a:srcRect l="20952" t="14512" r="49660" b="27583"/>
          <a:stretch/>
        </p:blipFill>
        <p:spPr>
          <a:xfrm>
            <a:off x="8009652" y="1926576"/>
            <a:ext cx="3383873" cy="405115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4" name="Picture 2" descr="C:\Users\zubairovaov\Desktop\cover1__w600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750875" y="4216437"/>
            <a:ext cx="1421376" cy="2129694"/>
          </a:xfrm>
          <a:prstGeom prst="rect">
            <a:avLst/>
          </a:prstGeom>
          <a:noFill/>
          <a:ln w="9525">
            <a:solidFill>
              <a:srgbClr val="2D3494"/>
            </a:solidFill>
            <a:miter lim="800000"/>
            <a:headEnd/>
            <a:tailEnd/>
          </a:ln>
        </p:spPr>
      </p:pic>
      <p:pic>
        <p:nvPicPr>
          <p:cNvPr id="15" name="Picture 2" descr="http://qrcoder.ru/code/?https%3A%2F%2Frosuchebnik.ru%2Fproduct%2Fspravochnik-po-russkomu-yazyku-gotovimsya-k-vpr-1-4-klassy-russkiy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1126" y="5095012"/>
            <a:ext cx="1304722" cy="1304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Группа 15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1" name="Рисунок 3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32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3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4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51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5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6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9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0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50627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21089" t="25275" r="25090" b="17521"/>
          <a:stretch/>
        </p:blipFill>
        <p:spPr>
          <a:xfrm>
            <a:off x="335647" y="645445"/>
            <a:ext cx="8612388" cy="572117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2" descr="Изображение Готовимся к Всероссийской проверочной работе. Русский язык. Рабочая тетрадь. 4 класс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7414" y="240526"/>
            <a:ext cx="2245219" cy="306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qrcoder.ru/code/?https%3A%2F%2Fshop.prosv.ru%2Fkatalog%3Futm_source%3Drosuchebnikru%26utm_medium%3Dheader%26utm_campaign%3Dorganic-Sendsay_main-page%23%2Forderby%3D11%26sFilters%3D21%2156334%3B4%212303%3B13%212961%2C93341%2C2965%3B&amp;8&amp;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7398" y="3382499"/>
            <a:ext cx="1738979" cy="1738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24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7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3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4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8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3379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52526" y="790387"/>
            <a:ext cx="7733705" cy="548698"/>
          </a:xfrm>
        </p:spPr>
        <p:txBody>
          <a:bodyPr/>
          <a:lstStyle/>
          <a:p>
            <a:r>
              <a:rPr lang="ru-RU" sz="2800" dirty="0" smtClean="0"/>
              <a:t>Что обсуждаем?</a:t>
            </a:r>
            <a:endParaRPr lang="ru-RU" sz="28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01350" y="1555188"/>
            <a:ext cx="10805047" cy="4896544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ru-RU" sz="2800" dirty="0" smtClean="0"/>
              <a:t>Типичные трудности при выполнении ВПР  и пути их предупреждения</a:t>
            </a:r>
          </a:p>
          <a:p>
            <a:pPr marL="457200" indent="-457200">
              <a:buAutoNum type="arabicPeriod"/>
            </a:pPr>
            <a:r>
              <a:rPr lang="ru-RU" sz="2800" dirty="0" smtClean="0"/>
              <a:t>Инструментарий для организации системной работы по подготовке к ВПР</a:t>
            </a:r>
          </a:p>
          <a:p>
            <a:pPr marL="0" indent="0">
              <a:buNone/>
            </a:pPr>
            <a:endParaRPr lang="ru-RU" sz="280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474284" y="117922"/>
            <a:ext cx="1268960" cy="438775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Группа 5"/>
          <p:cNvGrpSpPr/>
          <p:nvPr/>
        </p:nvGrpSpPr>
        <p:grpSpPr>
          <a:xfrm>
            <a:off x="11378716" y="0"/>
            <a:ext cx="813284" cy="6790912"/>
            <a:chOff x="8531749" y="-3442"/>
            <a:chExt cx="609963" cy="5093184"/>
          </a:xfrm>
        </p:grpSpPr>
        <p:sp>
          <p:nvSpPr>
            <p:cNvPr id="2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9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0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41" name="Рисунок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57055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-4818" t="-5136" r="-1" b="2834"/>
          <a:stretch/>
        </p:blipFill>
        <p:spPr>
          <a:xfrm>
            <a:off x="1178770" y="847493"/>
            <a:ext cx="6681456" cy="530650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6" name="Группа 5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22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23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5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1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6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43" name="Picture 5" descr="K:\_for all\Ордынкина\7397.jpg">
            <a:extLst>
              <a:ext uri="{FF2B5EF4-FFF2-40B4-BE49-F238E27FC236}">
                <a16:creationId xmlns:a16="http://schemas.microsoft.com/office/drawing/2014/main" id="{A10A9A84-B135-4DDB-9243-9320288238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9802" y="521533"/>
            <a:ext cx="2270443" cy="306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Заголовок 2"/>
          <p:cNvSpPr>
            <a:spLocks noGrp="1"/>
          </p:cNvSpPr>
          <p:nvPr>
            <p:ph type="title"/>
          </p:nvPr>
        </p:nvSpPr>
        <p:spPr>
          <a:xfrm>
            <a:off x="2524100" y="278692"/>
            <a:ext cx="4813402" cy="568801"/>
          </a:xfrm>
        </p:spPr>
        <p:txBody>
          <a:bodyPr/>
          <a:lstStyle/>
          <a:p>
            <a:r>
              <a:rPr lang="ru-RU" sz="2800" dirty="0"/>
              <a:t>Р</a:t>
            </a:r>
            <a:r>
              <a:rPr lang="ru-RU" sz="2800" dirty="0" smtClean="0"/>
              <a:t>аботаем с информацией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6347535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7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9" name="Объект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24100" y="278692"/>
            <a:ext cx="11520000" cy="648642"/>
          </a:xfrm>
        </p:spPr>
        <p:txBody>
          <a:bodyPr/>
          <a:lstStyle/>
          <a:p>
            <a:r>
              <a:rPr lang="ru-RU" sz="2800" dirty="0"/>
              <a:t>Р</a:t>
            </a:r>
            <a:r>
              <a:rPr lang="ru-RU" sz="2800" dirty="0" smtClean="0"/>
              <a:t>аботаем с информацией</a:t>
            </a:r>
            <a:endParaRPr lang="ru-RU" sz="2800" dirty="0"/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A1524F71-128F-4786-A02A-7C7A7BCA8F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207" y="4736865"/>
            <a:ext cx="1439739" cy="1900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 descr="http://qrcoder.ru/code/?https%3A%2F%2Frosuchebnik.ru%2Fproduct%2Fvserossiyskie-proverochnye-raboty-matematika-4-klass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169" y="5041630"/>
            <a:ext cx="1620000" cy="16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120" name="Picture 8"/>
          <p:cNvPicPr>
            <a:picLocks noChangeAspect="1" noChangeArrowheads="1"/>
          </p:cNvPicPr>
          <p:nvPr/>
        </p:nvPicPr>
        <p:blipFill>
          <a:blip r:embed="rId10"/>
          <a:srcRect l="23047" t="14583" r="25390" b="29167"/>
          <a:stretch>
            <a:fillRect/>
          </a:stretch>
        </p:blipFill>
        <p:spPr bwMode="auto">
          <a:xfrm>
            <a:off x="595274" y="1071546"/>
            <a:ext cx="5069748" cy="350695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0121" name="Picture 9"/>
          <p:cNvPicPr>
            <a:picLocks noChangeAspect="1" noChangeArrowheads="1"/>
          </p:cNvPicPr>
          <p:nvPr/>
        </p:nvPicPr>
        <p:blipFill>
          <a:blip r:embed="rId11"/>
          <a:srcRect l="29492" t="16666" r="23633" b="19792"/>
          <a:stretch>
            <a:fillRect/>
          </a:stretch>
        </p:blipFill>
        <p:spPr bwMode="auto">
          <a:xfrm>
            <a:off x="5889245" y="955968"/>
            <a:ext cx="5143536" cy="392194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6" name="Прямоугольник 25"/>
          <p:cNvSpPr/>
          <p:nvPr/>
        </p:nvSpPr>
        <p:spPr>
          <a:xfrm>
            <a:off x="6238876" y="1776881"/>
            <a:ext cx="1428760" cy="21431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dirty="0" smtClean="0">
                <a:solidFill>
                  <a:srgbClr val="2D3494"/>
                </a:solidFill>
              </a:rPr>
              <a:t>неверно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953256" y="2116443"/>
            <a:ext cx="2000264" cy="21431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dirty="0" smtClean="0">
                <a:solidFill>
                  <a:srgbClr val="2D3494"/>
                </a:solidFill>
              </a:rPr>
              <a:t>11+14+2+9+6+5+5=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867776" y="2080724"/>
            <a:ext cx="857256" cy="2857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dirty="0" smtClean="0">
                <a:solidFill>
                  <a:srgbClr val="2D3494"/>
                </a:solidFill>
              </a:rPr>
              <a:t>52 (</a:t>
            </a:r>
            <a:r>
              <a:rPr lang="ru-RU" dirty="0" err="1" smtClean="0">
                <a:solidFill>
                  <a:srgbClr val="2D3494"/>
                </a:solidFill>
              </a:rPr>
              <a:t>уч</a:t>
            </a:r>
            <a:r>
              <a:rPr lang="ru-RU" dirty="0" smtClean="0">
                <a:solidFill>
                  <a:srgbClr val="2D3494"/>
                </a:solidFill>
              </a:rPr>
              <a:t>.)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238876" y="3779051"/>
            <a:ext cx="1428760" cy="21431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dirty="0" smtClean="0">
                <a:solidFill>
                  <a:srgbClr val="2D3494"/>
                </a:solidFill>
              </a:rPr>
              <a:t>не права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7101412" y="4102517"/>
            <a:ext cx="4071966" cy="1428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dirty="0" smtClean="0">
                <a:solidFill>
                  <a:srgbClr val="2D3494"/>
                </a:solidFill>
              </a:rPr>
              <a:t>9+6= 15( </a:t>
            </a:r>
            <a:r>
              <a:rPr lang="ru-RU" dirty="0" err="1" smtClean="0">
                <a:solidFill>
                  <a:srgbClr val="2D3494"/>
                </a:solidFill>
              </a:rPr>
              <a:t>уч</a:t>
            </a:r>
            <a:r>
              <a:rPr lang="ru-RU" dirty="0" smtClean="0">
                <a:solidFill>
                  <a:srgbClr val="2D3494"/>
                </a:solidFill>
              </a:rPr>
              <a:t>.) – любят виноградный сок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988975" y="4351449"/>
            <a:ext cx="3929090" cy="21431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dirty="0" smtClean="0">
                <a:solidFill>
                  <a:srgbClr val="2D3494"/>
                </a:solidFill>
              </a:rPr>
              <a:t>15 :4=3 (ост.3)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965416" y="4614681"/>
            <a:ext cx="3929090" cy="21431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dirty="0" smtClean="0">
                <a:solidFill>
                  <a:srgbClr val="2D3494"/>
                </a:solidFill>
              </a:rPr>
              <a:t>Надо 4 пакета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42" name="Рисунок 4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43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44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9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0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2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3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4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5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6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2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3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57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8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9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0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868690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28" grpId="0"/>
      <p:bldP spid="29" grpId="0"/>
      <p:bldP spid="30" grpId="0"/>
      <p:bldP spid="31" grpId="0"/>
      <p:bldP spid="3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57452" t="15815" r="8514" b="34519"/>
          <a:stretch/>
        </p:blipFill>
        <p:spPr>
          <a:xfrm>
            <a:off x="318167" y="829915"/>
            <a:ext cx="4317203" cy="422305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l="19073" t="18533" r="44170" b="65899"/>
          <a:stretch/>
        </p:blipFill>
        <p:spPr>
          <a:xfrm>
            <a:off x="4635370" y="5289680"/>
            <a:ext cx="4834405" cy="127969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073781" y="330063"/>
            <a:ext cx="11520000" cy="648642"/>
          </a:xfrm>
        </p:spPr>
        <p:txBody>
          <a:bodyPr/>
          <a:lstStyle/>
          <a:p>
            <a:r>
              <a:rPr lang="ru-RU" dirty="0"/>
              <a:t>ВПР по </a:t>
            </a:r>
            <a:r>
              <a:rPr lang="ru-RU" dirty="0" smtClean="0"/>
              <a:t>окружающему миру :</a:t>
            </a:r>
            <a:r>
              <a:rPr lang="en-US" dirty="0" smtClean="0"/>
              <a:t> </a:t>
            </a:r>
            <a:r>
              <a:rPr lang="ru-RU" dirty="0" smtClean="0"/>
              <a:t> </a:t>
            </a:r>
            <a:r>
              <a:rPr lang="ru-RU" dirty="0"/>
              <a:t>работаем с информацией</a:t>
            </a:r>
          </a:p>
        </p:txBody>
      </p:sp>
      <p:pic>
        <p:nvPicPr>
          <p:cNvPr id="6" name="Picture 6" descr="Изображение Готовимся к Всероссийской проверочной работе. Окружающий мир. Рабочая тетрадь. 4 класс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8913" y="536232"/>
            <a:ext cx="1913799" cy="261138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qrcoder.ru/code/?https%3A%2F%2Fshop.prosv.ru%2Fkatalog%3Futm_source%3Drosuchebnikru%26utm_medium%3Dheader%26utm_campaign%3Dorganic-Sendsay_main-page%23%2Forderby%3D11%26sFilters%3D21%2156334%3B4%212303%3B13%212961%2C93341%2C2965%3B&amp;8&amp;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5469" y="3270635"/>
            <a:ext cx="1738979" cy="1738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l="57161" t="64903" r="8339" b="12525"/>
          <a:stretch/>
        </p:blipFill>
        <p:spPr>
          <a:xfrm>
            <a:off x="4805709" y="3314335"/>
            <a:ext cx="4273204" cy="174741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10" name="Группа 9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26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27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5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6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0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3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4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30177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29552" t="21745" r="33685" b="6978"/>
          <a:stretch/>
        </p:blipFill>
        <p:spPr>
          <a:xfrm>
            <a:off x="219568" y="667237"/>
            <a:ext cx="4482791" cy="543193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2" descr="https://catalog.prosv.ru/images/big/fe8f4e71-e7b6-11e6-bf6f-0050569c7d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5937" y="596292"/>
            <a:ext cx="2082348" cy="28281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/>
          <a:srcRect l="6702" t="2016" r="6546" b="1370"/>
          <a:stretch/>
        </p:blipFill>
        <p:spPr>
          <a:xfrm>
            <a:off x="4974504" y="1197429"/>
            <a:ext cx="4027714" cy="383742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Заголовок 3"/>
          <p:cNvSpPr>
            <a:spLocks noGrp="1"/>
          </p:cNvSpPr>
          <p:nvPr>
            <p:ph type="title"/>
          </p:nvPr>
        </p:nvSpPr>
        <p:spPr>
          <a:xfrm>
            <a:off x="1772815" y="180636"/>
            <a:ext cx="10081617" cy="1044934"/>
          </a:xfrm>
        </p:spPr>
        <p:txBody>
          <a:bodyPr/>
          <a:lstStyle/>
          <a:p>
            <a:r>
              <a:rPr lang="ru-RU" dirty="0"/>
              <a:t>ВПР по </a:t>
            </a:r>
            <a:r>
              <a:rPr lang="ru-RU" dirty="0" smtClean="0"/>
              <a:t>окружающему миру :</a:t>
            </a:r>
            <a:r>
              <a:rPr lang="en-US" dirty="0" smtClean="0"/>
              <a:t> </a:t>
            </a:r>
            <a:r>
              <a:rPr lang="ru-RU" dirty="0" smtClean="0"/>
              <a:t> </a:t>
            </a:r>
            <a:r>
              <a:rPr lang="ru-RU" dirty="0"/>
              <a:t>работаем </a:t>
            </a:r>
            <a:r>
              <a:rPr lang="ru-RU" dirty="0" smtClean="0"/>
              <a:t>с текстом и информацией	</a:t>
            </a: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24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7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3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4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8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45" name="Picture 8" descr="http://disk.yandex.net/qr/?clean=1&amp;text=https://clck.ru/Y8koX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1798" y="3750851"/>
            <a:ext cx="1190625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9257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19614" t="15568" r="7645" b="11043"/>
          <a:stretch/>
        </p:blipFill>
        <p:spPr>
          <a:xfrm>
            <a:off x="804515" y="829278"/>
            <a:ext cx="8388912" cy="5289824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4" descr="Изображение Всероссийские проверочные работы. Окружающий мир. 10 типовых вариантов. 4 класс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0993" y="418125"/>
            <a:ext cx="2059165" cy="287259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23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24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5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6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2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3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7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5151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18167" y="1682037"/>
            <a:ext cx="10417588" cy="4896544"/>
          </a:xfrm>
        </p:spPr>
        <p:txBody>
          <a:bodyPr/>
          <a:lstStyle/>
          <a:p>
            <a:pPr marL="0" indent="0">
              <a:buNone/>
            </a:pPr>
            <a:r>
              <a:rPr lang="ru-RU" sz="2200" dirty="0" smtClean="0">
                <a:solidFill>
                  <a:schemeClr val="tx1"/>
                </a:solidFill>
              </a:rPr>
              <a:t>Во ФГОС НОО многократно повторяется идея индивидуального подхода, дифференциации обучения. Если обучение становится многоуровневым, учитываются индивидуальные особенности, то и оценивание должно помочь увидеть индивидуальные особенности учащихся, выделить учащихся с высоким уровнем усвоения предметного материала. В стандарте есть указание на необходимость оценки динамики индивидуального развития учащихся выполнить это в случае детей, которые показывают хороший уровень достижений только на уровне базовых заданий довольно трудно.</a:t>
            </a:r>
          </a:p>
          <a:p>
            <a:pPr marL="0" indent="0">
              <a:buNone/>
            </a:pPr>
            <a:r>
              <a:rPr lang="ru-RU" sz="2200" dirty="0" smtClean="0">
                <a:solidFill>
                  <a:schemeClr val="tx1"/>
                </a:solidFill>
              </a:rPr>
              <a:t>Для качественного оценивания индивидуальных образовательных достижений учащихся в ходе итогового контроля контрольно-измерительные материалы должны содержать задания разных степеней сложности - базового и повышенного, при этом основанием для создания заданий того и  другого уровней являются планируемые результаты блоков «Выпускник научится». В период подготовки к итоговому контролю также необходимо использовать </a:t>
            </a:r>
            <a:r>
              <a:rPr lang="ru-RU" sz="2200" dirty="0" err="1" smtClean="0">
                <a:solidFill>
                  <a:schemeClr val="tx1"/>
                </a:solidFill>
              </a:rPr>
              <a:t>разноуровневые</a:t>
            </a:r>
            <a:r>
              <a:rPr lang="ru-RU" sz="2200" dirty="0" smtClean="0">
                <a:solidFill>
                  <a:schemeClr val="tx1"/>
                </a:solidFill>
              </a:rPr>
              <a:t> проверочные работы.</a:t>
            </a:r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5319" y="596422"/>
            <a:ext cx="11520000" cy="648642"/>
          </a:xfrm>
        </p:spPr>
        <p:txBody>
          <a:bodyPr>
            <a:noAutofit/>
          </a:bodyPr>
          <a:lstStyle/>
          <a:p>
            <a:r>
              <a:rPr lang="ru-RU" sz="2400" dirty="0" smtClean="0"/>
              <a:t>Почему на уровне образовательной организации контроль в начальной школе должен быть </a:t>
            </a:r>
            <a:r>
              <a:rPr lang="ru-RU" sz="2400" dirty="0" err="1" smtClean="0"/>
              <a:t>разноуровневым</a:t>
            </a:r>
            <a:r>
              <a:rPr lang="ru-RU" sz="2400" dirty="0" smtClean="0"/>
              <a:t>?</a:t>
            </a:r>
            <a:endParaRPr lang="ru-RU" sz="240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Группа 5"/>
          <p:cNvGrpSpPr/>
          <p:nvPr/>
        </p:nvGrpSpPr>
        <p:grpSpPr>
          <a:xfrm>
            <a:off x="11394704" y="0"/>
            <a:ext cx="813284" cy="6790912"/>
            <a:chOff x="8531749" y="-3442"/>
            <a:chExt cx="609963" cy="5093184"/>
          </a:xfrm>
        </p:grpSpPr>
        <p:sp>
          <p:nvSpPr>
            <p:cNvPr id="2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9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0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41" name="Рисунок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430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389375" y="131047"/>
            <a:ext cx="8223900" cy="753207"/>
          </a:xfrm>
        </p:spPr>
        <p:txBody>
          <a:bodyPr/>
          <a:lstStyle/>
          <a:p>
            <a:r>
              <a:rPr lang="ru-RU" sz="2800" dirty="0"/>
              <a:t>Инструментарий. Русский </a:t>
            </a:r>
            <a:r>
              <a:rPr lang="ru-RU" sz="2800" dirty="0" smtClean="0"/>
              <a:t>язык</a:t>
            </a:r>
            <a:endParaRPr lang="ru-RU" sz="28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0579" y="1009914"/>
            <a:ext cx="2421621" cy="306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2" descr="D:\MARINA\RUS-JAZ\ВПР\3_класс\cover1 (1)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7141" y="1059776"/>
            <a:ext cx="2451240" cy="306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2" descr="C:\Users\Marina\AppData\Local\Microsoft\Windows\Temporary Internet Files\Content.IE5\KFQZFR40\ВПР_русский_обложка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71527" y="1094481"/>
            <a:ext cx="2380952" cy="306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2" descr="http://qrcoder.ru/code/?https%3A%2F%2Frosuchebnik.ru%2Fproduct%2Frusskiy-yazyk-2-klass-vserossiyskaya-proverochnaya-rabota-trenager%2F%3Futm_source%3Dqrcode%26utm_medium%3Dcpc%26utm_campaign%3Donlineurok-vpr4kl-170420&amp;8&amp;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749" y="4472912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http://qrcoder.ru/code/?https%3A%2F%2Frosuchebnik.ru%2Fproduct%2Frusskiy-yazyk-3-klass-vserossiyskaya-proverochnaya-rabota-trenager%2F%3Futm_source%3Dqrcode%26utm_medium%3Dcpc%26utm_campaign%3Donlineurok-vpr4kl-170420&amp;8&amp;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9698" y="4526661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ttp://qrcoder.ru/code/?https%3A%2F%2Frosuchebnik.ru%2Fproduct%2Frusskiy-yazyk-4-klass-vserossiyskaya-proverochnaya-rabota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0647" y="4588929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Группа 11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1" name="Группа 5"/>
          <p:cNvGrpSpPr/>
          <p:nvPr/>
        </p:nvGrpSpPr>
        <p:grpSpPr>
          <a:xfrm>
            <a:off x="11394704" y="0"/>
            <a:ext cx="813284" cy="6790912"/>
            <a:chOff x="8531749" y="-3442"/>
            <a:chExt cx="609963" cy="5093184"/>
          </a:xfrm>
        </p:grpSpPr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4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5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5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9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52" name="Рисунок 5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3517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34434" y="1052736"/>
            <a:ext cx="8537616" cy="4896544"/>
          </a:xfrm>
        </p:spPr>
        <p:txBody>
          <a:bodyPr/>
          <a:lstStyle/>
          <a:p>
            <a:r>
              <a:rPr lang="ru-RU" sz="2000" b="1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</a:rPr>
              <a:t>РАБОТЫ № 1 И 2 </a:t>
            </a:r>
            <a:r>
              <a:rPr lang="ru-RU" sz="20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</a:rPr>
              <a:t>соответствуют действующей модели ВПР, при этом они содержат дополнительные </a:t>
            </a:r>
            <a:r>
              <a:rPr lang="ru-RU" sz="20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</a:rPr>
              <a:t>задания</a:t>
            </a:r>
            <a:endParaRPr lang="ru-RU" sz="20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</a:endParaRPr>
          </a:p>
          <a:p>
            <a:r>
              <a:rPr lang="ru-RU" sz="2000" b="1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РАБОТА № 3 </a:t>
            </a:r>
            <a:r>
              <a:rPr lang="ru-RU" sz="20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строится на всём спектре обязательных предметных результатов, содержит 21 обязательное задание и 2 </a:t>
            </a:r>
            <a:r>
              <a:rPr lang="ru-RU" sz="20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дополнительных</a:t>
            </a:r>
            <a:endParaRPr lang="ru-RU" sz="20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  <a:ea typeface="DejaVu Sans"/>
            </a:endParaRPr>
          </a:p>
          <a:p>
            <a:r>
              <a:rPr lang="ru-RU" sz="2000" b="1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РАБОТА № 4 </a:t>
            </a:r>
            <a:r>
              <a:rPr lang="ru-RU" sz="20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содержит две группы </a:t>
            </a:r>
            <a:r>
              <a:rPr lang="ru-RU" sz="20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заданий:</a:t>
            </a:r>
            <a:endParaRPr lang="ru-RU" sz="20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  <a:ea typeface="DejaVu Sans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b="1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ПЕРВАЯ ГРУППА – </a:t>
            </a:r>
            <a:r>
              <a:rPr lang="ru-RU" sz="20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базовые </a:t>
            </a:r>
            <a:r>
              <a:rPr lang="ru-RU" sz="20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задания, позволяющие проверить освоение базовых знаний и умений по предмету, без которых невозможно успешное продолжение обучения на следующей ступени.  </a:t>
            </a:r>
            <a:endParaRPr lang="ru-RU" sz="20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b="1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ВТОРУЮ ГРУППУ </a:t>
            </a:r>
            <a:r>
              <a:rPr lang="ru-RU" sz="20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ea typeface="DejaVu Sans"/>
              </a:rPr>
              <a:t>составляют задания, проверяющие способность учащихся решать учебные или практические задачи по русскому языку, в которых нет явного указания на способ выполнения, основную сложность при выполнении этих заданий представляет выбор способа решения из тех, которыми они владеют.  </a:t>
            </a:r>
            <a:endParaRPr lang="ru-RU" sz="20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</a:endParaRPr>
          </a:p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781395" y="247439"/>
            <a:ext cx="11520000" cy="648642"/>
          </a:xfrm>
        </p:spPr>
        <p:txBody>
          <a:bodyPr/>
          <a:lstStyle/>
          <a:p>
            <a:r>
              <a:rPr lang="ru-RU" sz="2800" spc="-1" dirty="0">
                <a:uFill>
                  <a:solidFill>
                    <a:srgbClr val="FFFFFF"/>
                  </a:solidFill>
                </a:uFill>
                <a:ea typeface="DejaVu Sans"/>
              </a:rPr>
              <a:t>Структура </a:t>
            </a:r>
            <a:r>
              <a:rPr lang="ru-RU" sz="2800" spc="-1" dirty="0" smtClean="0">
                <a:uFill>
                  <a:solidFill>
                    <a:srgbClr val="FFFFFF"/>
                  </a:solidFill>
                </a:uFill>
                <a:ea typeface="DejaVu Sans"/>
              </a:rPr>
              <a:t>тетради </a:t>
            </a:r>
            <a:r>
              <a:rPr lang="ru-RU" sz="2800" spc="-1" dirty="0" smtClean="0">
                <a:uFill>
                  <a:solidFill>
                    <a:srgbClr val="FFFFFF"/>
                  </a:solidFill>
                </a:uFill>
                <a:ea typeface="DejaVu Sans"/>
              </a:rPr>
              <a:t> </a:t>
            </a:r>
            <a:endParaRPr lang="ru-RU" sz="2800" dirty="0"/>
          </a:p>
        </p:txBody>
      </p:sp>
      <p:pic>
        <p:nvPicPr>
          <p:cNvPr id="5" name="Picture 2" descr="C:\Users\Marina\AppData\Local\Microsoft\Windows\Temporary Internet Files\Content.IE5\KFQZFR40\ВПР_русский_обложка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91550" y="347085"/>
            <a:ext cx="2380952" cy="306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2" descr="http://qrcoder.ru/code/?https%3A%2F%2Frosuchebnik.ru%2Fproduct%2Frusskiy-yazyk-4-klass-vserossiyskaya-proverochnaya-rabota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3243" y="4819663"/>
            <a:ext cx="1772379" cy="1772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Группа 5"/>
          <p:cNvGrpSpPr/>
          <p:nvPr/>
        </p:nvGrpSpPr>
        <p:grpSpPr>
          <a:xfrm>
            <a:off x="11394704" y="0"/>
            <a:ext cx="813284" cy="6790912"/>
            <a:chOff x="8531749" y="-3442"/>
            <a:chExt cx="609963" cy="5093184"/>
          </a:xfrm>
        </p:grpSpPr>
        <p:sp>
          <p:nvSpPr>
            <p:cNvPr id="23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5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1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6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43" name="Рисунок 4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266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0568029" cy="4896544"/>
          </a:xfrm>
        </p:spPr>
        <p:txBody>
          <a:bodyPr/>
          <a:lstStyle/>
          <a:p>
            <a:r>
              <a:rPr lang="ru-RU" sz="2000" b="1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+mn-lt"/>
                <a:ea typeface="DejaVu Sans"/>
              </a:rPr>
              <a:t>РАБОТА № 5</a:t>
            </a:r>
            <a:r>
              <a:rPr lang="ru-RU" sz="20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+mn-lt"/>
                <a:ea typeface="DejaVu Sans"/>
              </a:rPr>
              <a:t> содержит 3 группы </a:t>
            </a:r>
            <a:r>
              <a:rPr lang="ru-RU" sz="2000" spc="-1" dirty="0" smtClean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+mn-lt"/>
                <a:ea typeface="DejaVu Sans"/>
              </a:rPr>
              <a:t>заданий: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b="1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+mn-lt"/>
                <a:ea typeface="DejaVu Sans"/>
              </a:rPr>
              <a:t>ПЕРВАЯ ГРУППА – </a:t>
            </a:r>
            <a:r>
              <a:rPr lang="ru-RU" sz="20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+mn-lt"/>
                <a:ea typeface="DejaVu Sans"/>
              </a:rPr>
              <a:t>базовые задания, позволяющие проверить освоение базовых знаний и умений по предмету, без которых невозможно успешное продолжение обучения на следующей ступени. </a:t>
            </a:r>
            <a:endParaRPr lang="ru-RU" sz="20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  <a:latin typeface="+mn-lt"/>
            </a:endParaRP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b="1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+mn-lt"/>
                <a:ea typeface="DejaVu Sans"/>
              </a:rPr>
              <a:t>ВТОРУЮ ГРУППУ </a:t>
            </a:r>
            <a:r>
              <a:rPr lang="ru-RU" sz="20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+mn-lt"/>
                <a:ea typeface="DejaVu Sans"/>
              </a:rPr>
              <a:t>составляют задания, проверяющие способность учащихся решать учебные или практические задачи по русскому языку, в которых нет явного указания на способ выполнения, основную сложность при выполнении этих заданий представляет выбор способа решения из тех, которыми они владеют. 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2000" b="1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+mn-lt"/>
                <a:ea typeface="DejaVu Sans"/>
              </a:rPr>
              <a:t>ТРЕТЬЮ ГРУППУ </a:t>
            </a:r>
            <a:r>
              <a:rPr lang="ru-RU" sz="2000" spc="-1" dirty="0">
                <a:solidFill>
                  <a:schemeClr val="tx1"/>
                </a:solidFill>
                <a:uFill>
                  <a:solidFill>
                    <a:srgbClr val="FFFFFF"/>
                  </a:solidFill>
                </a:uFill>
                <a:latin typeface="+mn-lt"/>
                <a:ea typeface="DejaVu Sans"/>
              </a:rPr>
              <a:t>составляют задания, построенные на основе планируемых результатов «Выпускник получит возможность научиться»</a:t>
            </a:r>
            <a:endParaRPr lang="ru-RU" sz="2000" spc="-1" dirty="0">
              <a:solidFill>
                <a:schemeClr val="tx1"/>
              </a:solidFill>
              <a:uFill>
                <a:solidFill>
                  <a:srgbClr val="FFFFFF"/>
                </a:solidFill>
              </a:uFill>
              <a:latin typeface="+mn-lt"/>
            </a:endParaRPr>
          </a:p>
          <a:p>
            <a:endParaRPr lang="ru-RU" spc="-1" dirty="0">
              <a:solidFill>
                <a:srgbClr val="C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585264" y="330328"/>
            <a:ext cx="11520000" cy="648642"/>
          </a:xfrm>
        </p:spPr>
        <p:txBody>
          <a:bodyPr/>
          <a:lstStyle/>
          <a:p>
            <a:r>
              <a:rPr lang="ru-RU" sz="2800" spc="-1" dirty="0">
                <a:uFill>
                  <a:solidFill>
                    <a:srgbClr val="FFFFFF"/>
                  </a:solidFill>
                </a:uFill>
                <a:ea typeface="DejaVu Sans"/>
              </a:rPr>
              <a:t>Структура </a:t>
            </a:r>
            <a:r>
              <a:rPr lang="ru-RU" sz="2800" spc="-1" dirty="0" smtClean="0">
                <a:uFill>
                  <a:solidFill>
                    <a:srgbClr val="FFFFFF"/>
                  </a:solidFill>
                </a:uFill>
                <a:ea typeface="DejaVu Sans"/>
              </a:rPr>
              <a:t>тетради </a:t>
            </a:r>
            <a:r>
              <a:rPr lang="ru-RU" sz="2800" spc="-1" dirty="0" smtClean="0">
                <a:uFill>
                  <a:solidFill>
                    <a:srgbClr val="FFFFFF"/>
                  </a:solidFill>
                </a:uFill>
                <a:ea typeface="DejaVu Sans"/>
              </a:rPr>
              <a:t> </a:t>
            </a:r>
            <a:endParaRPr lang="ru-RU" sz="280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333201" y="110940"/>
            <a:ext cx="1268960" cy="438775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Группа 5"/>
          <p:cNvGrpSpPr/>
          <p:nvPr/>
        </p:nvGrpSpPr>
        <p:grpSpPr>
          <a:xfrm>
            <a:off x="11394704" y="0"/>
            <a:ext cx="813284" cy="6790912"/>
            <a:chOff x="8531749" y="-3442"/>
            <a:chExt cx="609963" cy="5093184"/>
          </a:xfrm>
        </p:grpSpPr>
        <p:sp>
          <p:nvSpPr>
            <p:cNvPr id="2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9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0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41" name="Рисунок 4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533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  <a:p>
            <a:endParaRPr lang="en-US" u="sng" dirty="0" smtClean="0">
              <a:hlinkClick r:id="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Работа №4</a:t>
            </a:r>
            <a:endParaRPr lang="ru-RU" sz="2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l="23440" t="17264" r="45427" b="10833"/>
          <a:stretch/>
        </p:blipFill>
        <p:spPr>
          <a:xfrm>
            <a:off x="155861" y="662355"/>
            <a:ext cx="3753318" cy="541769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/>
          <a:srcRect l="6699" t="25766" r="33588" b="37581"/>
          <a:stretch/>
        </p:blipFill>
        <p:spPr>
          <a:xfrm>
            <a:off x="8142621" y="4052120"/>
            <a:ext cx="3610327" cy="138508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21812" t="26984" r="46967" b="23942"/>
          <a:stretch/>
        </p:blipFill>
        <p:spPr>
          <a:xfrm>
            <a:off x="4031024" y="180635"/>
            <a:ext cx="3792589" cy="372561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/>
          <a:srcRect l="23266" t="19128" r="45579" b="47591"/>
          <a:stretch/>
        </p:blipFill>
        <p:spPr>
          <a:xfrm>
            <a:off x="7925286" y="1364518"/>
            <a:ext cx="3778786" cy="252286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/>
          <a:srcRect l="22208" t="13055" r="46769" b="64858"/>
          <a:stretch/>
        </p:blipFill>
        <p:spPr>
          <a:xfrm>
            <a:off x="4031024" y="4001428"/>
            <a:ext cx="4013424" cy="191662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6"/>
          <a:srcRect l="25293" t="47924" r="45828" b="39831"/>
          <a:stretch/>
        </p:blipFill>
        <p:spPr>
          <a:xfrm>
            <a:off x="7948932" y="183030"/>
            <a:ext cx="3804016" cy="1075468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242371" y="3029639"/>
            <a:ext cx="92062" cy="991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4182824" y="1752999"/>
            <a:ext cx="153688" cy="163935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 flipH="1">
            <a:off x="8283031" y="3993402"/>
            <a:ext cx="45719" cy="11743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8272012" y="4102739"/>
            <a:ext cx="137783" cy="146970"/>
          </a:xfrm>
          <a:prstGeom prst="rect">
            <a:avLst/>
          </a:prstGeom>
        </p:spPr>
      </p:pic>
      <p:sp>
        <p:nvSpPr>
          <p:cNvPr id="17" name="Овал 16"/>
          <p:cNvSpPr/>
          <p:nvPr/>
        </p:nvSpPr>
        <p:spPr>
          <a:xfrm>
            <a:off x="4010852" y="1758721"/>
            <a:ext cx="280245" cy="275421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94008" y="3029639"/>
            <a:ext cx="280245" cy="275421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8044448" y="4054468"/>
            <a:ext cx="339541" cy="336969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7932471" y="1304054"/>
            <a:ext cx="339541" cy="336969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178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123476" y="94112"/>
            <a:ext cx="11520000" cy="648642"/>
          </a:xfrm>
        </p:spPr>
        <p:txBody>
          <a:bodyPr/>
          <a:lstStyle/>
          <a:p>
            <a:r>
              <a:rPr lang="ru-RU" dirty="0" smtClean="0"/>
              <a:t>Математика</a:t>
            </a:r>
            <a:endParaRPr lang="ru-RU" dirty="0"/>
          </a:p>
        </p:txBody>
      </p:sp>
      <p:pic>
        <p:nvPicPr>
          <p:cNvPr id="549890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/>
          <a:srcRect l="18982" t="30207" r="22127" b="27809"/>
          <a:stretch>
            <a:fillRect/>
          </a:stretch>
        </p:blipFill>
        <p:spPr bwMode="auto">
          <a:xfrm>
            <a:off x="150486" y="717996"/>
            <a:ext cx="3860800" cy="2201863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7" name="Picture 2" descr="https://im0-tub-ru.yandex.net/i?id=b723c18d636bdff71248d7d7ca63a918&amp;n=33&amp;h=181&amp;w=4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945238" y="0"/>
            <a:ext cx="1986051" cy="789933"/>
          </a:xfrm>
          <a:prstGeom prst="rect">
            <a:avLst/>
          </a:prstGeom>
          <a:noFill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/>
          <a:srcRect l="19973" t="13044" r="20109" b="5435"/>
          <a:stretch>
            <a:fillRect/>
          </a:stretch>
        </p:blipFill>
        <p:spPr bwMode="auto">
          <a:xfrm>
            <a:off x="4114131" y="824173"/>
            <a:ext cx="3370792" cy="3668888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6"/>
          <a:srcRect l="19191" t="43428" r="22904" b="29688"/>
          <a:stretch>
            <a:fillRect/>
          </a:stretch>
        </p:blipFill>
        <p:spPr bwMode="auto">
          <a:xfrm>
            <a:off x="7475738" y="4875878"/>
            <a:ext cx="3829630" cy="1422434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0" name="Заголовок 5"/>
          <p:cNvSpPr txBox="1">
            <a:spLocks/>
          </p:cNvSpPr>
          <p:nvPr/>
        </p:nvSpPr>
        <p:spPr>
          <a:xfrm>
            <a:off x="7971466" y="1040455"/>
            <a:ext cx="2057401" cy="4240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2D3494"/>
              </a:buClr>
              <a:buSzPts val="1500"/>
              <a:buFont typeface="Calibri"/>
              <a:buNone/>
              <a:defRPr sz="2000" b="1" i="0" u="none" strike="noStrike" kern="1200" cap="none">
                <a:solidFill>
                  <a:srgbClr val="2D349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ru-RU" dirty="0" smtClean="0"/>
              <a:t>Русский язык</a:t>
            </a:r>
            <a:endParaRPr lang="ru-RU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7"/>
          <a:srcRect l="20774" t="10202" r="23019" b="26619"/>
          <a:stretch/>
        </p:blipFill>
        <p:spPr bwMode="auto">
          <a:xfrm>
            <a:off x="7578988" y="1366000"/>
            <a:ext cx="3656995" cy="3288565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3" name="Заголовок 5"/>
          <p:cNvSpPr txBox="1">
            <a:spLocks noGrp="1"/>
          </p:cNvSpPr>
          <p:nvPr>
            <p:ph type="body" sz="quarter" idx="12"/>
          </p:nvPr>
        </p:nvSpPr>
        <p:spPr>
          <a:xfrm>
            <a:off x="334433" y="3010283"/>
            <a:ext cx="2342092" cy="394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2D3494"/>
              </a:buClr>
              <a:buSzPts val="1500"/>
              <a:buFont typeface="Calibri"/>
              <a:buNone/>
              <a:defRPr sz="2000" b="1" i="0" u="none" strike="noStrike" kern="1200" cap="none">
                <a:solidFill>
                  <a:srgbClr val="2D349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867"/>
            </a:lvl9pPr>
          </a:lstStyle>
          <a:p>
            <a:r>
              <a:rPr lang="ru-RU" dirty="0" smtClean="0"/>
              <a:t>Окружающий мир</a:t>
            </a:r>
            <a:endParaRPr lang="ru-RU" dirty="0"/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>
          <a:blip r:embed="rId8"/>
          <a:srcRect l="18309" t="20956" r="23235" b="19899"/>
          <a:stretch>
            <a:fillRect/>
          </a:stretch>
        </p:blipFill>
        <p:spPr bwMode="auto">
          <a:xfrm>
            <a:off x="103782" y="3426514"/>
            <a:ext cx="3860800" cy="3125063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grpSp>
        <p:nvGrpSpPr>
          <p:cNvPr id="12" name="Группа 11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9" name="Рисунок 2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30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9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50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84418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433" y="1168521"/>
            <a:ext cx="5499069" cy="279221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/>
          <a:srcRect l="23633" t="13540" r="27148" b="53506"/>
          <a:stretch/>
        </p:blipFill>
        <p:spPr bwMode="auto">
          <a:xfrm>
            <a:off x="4453912" y="4077072"/>
            <a:ext cx="6000792" cy="2259923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713595" y="162538"/>
            <a:ext cx="8425192" cy="689551"/>
          </a:xfrm>
        </p:spPr>
        <p:txBody>
          <a:bodyPr/>
          <a:lstStyle/>
          <a:p>
            <a:r>
              <a:rPr lang="ru-RU" sz="2800" dirty="0" smtClean="0"/>
              <a:t>Работа № 5.  Третья группа заданий</a:t>
            </a:r>
            <a:endParaRPr lang="ru-RU" sz="2800" dirty="0"/>
          </a:p>
        </p:txBody>
      </p:sp>
      <p:pic>
        <p:nvPicPr>
          <p:cNvPr id="18" name="Picture 2" descr="C:\Users\Marina\AppData\Local\Microsoft\Windows\Temporary Internet Files\Content.IE5\KFQZFR40\ВПР_русский_обложка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054144" y="1960641"/>
            <a:ext cx="1400560" cy="180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2" descr="http://qrcoder.ru/code/?https%3A%2F%2Frosuchebnik.ru%2Fproduct%2Frusskiy-yazyk-4-klass-vserossiyskaya-proverochnaya-rabota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7897" y="2547761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/>
        </p:nvGrpSpPr>
        <p:grpSpPr>
          <a:xfrm>
            <a:off x="333201" y="110940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8" name="Группа 5"/>
          <p:cNvGrpSpPr/>
          <p:nvPr/>
        </p:nvGrpSpPr>
        <p:grpSpPr>
          <a:xfrm>
            <a:off x="11394704" y="0"/>
            <a:ext cx="813284" cy="6790912"/>
            <a:chOff x="8531749" y="-3442"/>
            <a:chExt cx="609963" cy="5093184"/>
          </a:xfrm>
        </p:grpSpPr>
        <p:sp>
          <p:nvSpPr>
            <p:cNvPr id="39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3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4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9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0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1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57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58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52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3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4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5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6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59" name="Рисунок 5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507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433" y="1168521"/>
            <a:ext cx="5499069" cy="279221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/>
          <a:srcRect l="23633" t="13540" r="27148" b="53506"/>
          <a:stretch/>
        </p:blipFill>
        <p:spPr bwMode="auto">
          <a:xfrm>
            <a:off x="4453912" y="4077072"/>
            <a:ext cx="6000792" cy="2259923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2" name="Прямая соединительная линия 11"/>
          <p:cNvCxnSpPr/>
          <p:nvPr/>
        </p:nvCxnSpPr>
        <p:spPr>
          <a:xfrm>
            <a:off x="1940960" y="1811321"/>
            <a:ext cx="1000132" cy="1588"/>
          </a:xfrm>
          <a:prstGeom prst="line">
            <a:avLst/>
          </a:prstGeom>
          <a:solidFill>
            <a:srgbClr val="AE2C25"/>
          </a:solidFill>
          <a:ln w="19050">
            <a:solidFill>
              <a:srgbClr val="2D3494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6" name="Прямая соединительная линия 15"/>
          <p:cNvCxnSpPr/>
          <p:nvPr/>
        </p:nvCxnSpPr>
        <p:spPr>
          <a:xfrm>
            <a:off x="1298018" y="2025635"/>
            <a:ext cx="857256" cy="1588"/>
          </a:xfrm>
          <a:prstGeom prst="line">
            <a:avLst/>
          </a:prstGeom>
          <a:solidFill>
            <a:srgbClr val="AE2C25"/>
          </a:solidFill>
          <a:ln w="19050">
            <a:solidFill>
              <a:srgbClr val="2D3494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7" name="Прямая соединительная линия 16"/>
          <p:cNvCxnSpPr/>
          <p:nvPr/>
        </p:nvCxnSpPr>
        <p:spPr>
          <a:xfrm>
            <a:off x="4012662" y="2239949"/>
            <a:ext cx="1071570" cy="1588"/>
          </a:xfrm>
          <a:prstGeom prst="line">
            <a:avLst/>
          </a:prstGeom>
          <a:solidFill>
            <a:srgbClr val="AE2C25"/>
          </a:solidFill>
          <a:ln w="19050">
            <a:solidFill>
              <a:srgbClr val="2D3494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9" name="Прямая соединительная линия 18"/>
          <p:cNvCxnSpPr/>
          <p:nvPr/>
        </p:nvCxnSpPr>
        <p:spPr>
          <a:xfrm>
            <a:off x="3012530" y="2465929"/>
            <a:ext cx="1000132" cy="1588"/>
          </a:xfrm>
          <a:prstGeom prst="line">
            <a:avLst/>
          </a:prstGeom>
          <a:solidFill>
            <a:srgbClr val="AE2C25"/>
          </a:solidFill>
          <a:ln w="19050">
            <a:solidFill>
              <a:srgbClr val="2D3494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21" name="Прямая соединительная линия 20"/>
          <p:cNvCxnSpPr/>
          <p:nvPr/>
        </p:nvCxnSpPr>
        <p:spPr>
          <a:xfrm>
            <a:off x="3798348" y="2954329"/>
            <a:ext cx="1000132" cy="1588"/>
          </a:xfrm>
          <a:prstGeom prst="line">
            <a:avLst/>
          </a:prstGeom>
          <a:solidFill>
            <a:srgbClr val="AE2C25"/>
          </a:solidFill>
          <a:ln w="19050">
            <a:solidFill>
              <a:srgbClr val="2D3494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23" name="Прямая соединительная линия 22"/>
          <p:cNvCxnSpPr/>
          <p:nvPr/>
        </p:nvCxnSpPr>
        <p:spPr>
          <a:xfrm>
            <a:off x="3869786" y="3382957"/>
            <a:ext cx="1000132" cy="1588"/>
          </a:xfrm>
          <a:prstGeom prst="line">
            <a:avLst/>
          </a:prstGeom>
          <a:solidFill>
            <a:srgbClr val="AE2C25"/>
          </a:solidFill>
          <a:ln w="19050">
            <a:solidFill>
              <a:srgbClr val="2D3494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25" name="Прямоугольник 24"/>
          <p:cNvSpPr/>
          <p:nvPr/>
        </p:nvSpPr>
        <p:spPr>
          <a:xfrm>
            <a:off x="5394576" y="4573148"/>
            <a:ext cx="2786082" cy="21431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2400" dirty="0" smtClean="0">
                <a:solidFill>
                  <a:srgbClr val="2D3494"/>
                </a:solidFill>
              </a:rPr>
              <a:t>Поход в зоопарк</a:t>
            </a: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2941091" y="180635"/>
            <a:ext cx="7038651" cy="790741"/>
          </a:xfrm>
        </p:spPr>
        <p:txBody>
          <a:bodyPr/>
          <a:lstStyle/>
          <a:p>
            <a:r>
              <a:rPr lang="ru-RU" sz="2800" dirty="0" smtClean="0"/>
              <a:t>Работа № 5.  Третья группа заданий</a:t>
            </a:r>
            <a:endParaRPr lang="ru-RU" sz="2800" dirty="0"/>
          </a:p>
        </p:txBody>
      </p:sp>
      <p:pic>
        <p:nvPicPr>
          <p:cNvPr id="18" name="Picture 2" descr="C:\Users\Marina\AppData\Local\Microsoft\Windows\Temporary Internet Files\Content.IE5\KFQZFR40\ВПР_русский_обложка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054144" y="1960641"/>
            <a:ext cx="1400560" cy="180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2" descr="http://qrcoder.ru/code/?https%3A%2F%2Frosuchebnik.ru%2Fproduct%2Frusskiy-yazyk-4-klass-vserossiyskaya-proverochnaya-rabota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7897" y="2547761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/>
        </p:nvGrpSpPr>
        <p:grpSpPr>
          <a:xfrm>
            <a:off x="333201" y="110940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8" name="Группа 5"/>
          <p:cNvGrpSpPr/>
          <p:nvPr/>
        </p:nvGrpSpPr>
        <p:grpSpPr>
          <a:xfrm>
            <a:off x="11394704" y="0"/>
            <a:ext cx="813284" cy="6790912"/>
            <a:chOff x="8531749" y="-3442"/>
            <a:chExt cx="609963" cy="5093184"/>
          </a:xfrm>
        </p:grpSpPr>
        <p:sp>
          <p:nvSpPr>
            <p:cNvPr id="39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3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4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9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0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1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57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58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52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3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4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5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6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59" name="Рисунок 5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0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3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3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3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/>
              <a:t>Инструментарий. Математика</a:t>
            </a:r>
            <a:endParaRPr lang="ru-RU" sz="2800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1524F71-128F-4786-A02A-7C7A7BCA8F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864" y="1162758"/>
            <a:ext cx="2317576" cy="306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2" descr="http://qrcoder.ru/code/?https%3A%2F%2Frosuchebnik.ru%2Fproduct%2Fvserossiyskie-proverochnye-raboty-matematika-4-klass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5652" y="4535469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" descr="K:\_for all\Ордынкина\7397.jpg">
            <a:extLst>
              <a:ext uri="{FF2B5EF4-FFF2-40B4-BE49-F238E27FC236}">
                <a16:creationId xmlns:a16="http://schemas.microsoft.com/office/drawing/2014/main" id="{A10A9A84-B135-4DDB-9243-9320288238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627" y="1162758"/>
            <a:ext cx="2270443" cy="306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K:\_for all\Ордынкина\7396.jpg">
            <a:extLst>
              <a:ext uri="{FF2B5EF4-FFF2-40B4-BE49-F238E27FC236}">
                <a16:creationId xmlns:a16="http://schemas.microsoft.com/office/drawing/2014/main" id="{46DA3A63-D33D-4EB7-AD84-0E3BF5AB35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2809" y="1162758"/>
            <a:ext cx="2260317" cy="306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http://qrcoder.ru/code/?https%3A%2F%2Frosuchebnik.ru%2Fproduct%2Fvserossiyskie-proverochnye-raboty-matematika-2-klass%2F%3Futm_source%3Dqrcode%26utm_medium%3Dcpc%26utm_campaign%3Donlineurok-vpr4kl-170420&amp;8&amp;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3848" y="4535469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http://qrcoder.ru/code/?https%3A%2F%2Frosuchebnik.ru%2Fproduct%2Fvserossiyskie-proverochnye-raboty-matematika-3-klass%2F%3Futm_source%3Dqrcode%26utm_medium%3Dcpc%26utm_campaign%3Donlineurok-vpr4kl-170420&amp;8&amp;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750" y="4535469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Группа 10"/>
          <p:cNvGrpSpPr/>
          <p:nvPr/>
        </p:nvGrpSpPr>
        <p:grpSpPr>
          <a:xfrm>
            <a:off x="333201" y="110940"/>
            <a:ext cx="1268960" cy="438775"/>
            <a:chOff x="254665" y="195486"/>
            <a:chExt cx="951720" cy="329081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6" name="Группа 5"/>
          <p:cNvGrpSpPr/>
          <p:nvPr/>
        </p:nvGrpSpPr>
        <p:grpSpPr>
          <a:xfrm>
            <a:off x="11394704" y="0"/>
            <a:ext cx="813284" cy="6790912"/>
            <a:chOff x="8531749" y="-3442"/>
            <a:chExt cx="609963" cy="5093184"/>
          </a:xfrm>
        </p:grpSpPr>
        <p:sp>
          <p:nvSpPr>
            <p:cNvPr id="27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5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6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0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3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4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47" name="Рисунок 4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299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8" name="Объект 2"/>
          <p:cNvSpPr>
            <a:spLocks noGrp="1"/>
          </p:cNvSpPr>
          <p:nvPr>
            <p:ph type="body" sz="quarter" idx="12"/>
          </p:nvPr>
        </p:nvSpPr>
        <p:spPr>
          <a:xfrm>
            <a:off x="334433" y="1016000"/>
            <a:ext cx="10358967" cy="3718887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ru-RU" sz="2000" b="1" dirty="0" smtClean="0"/>
              <a:t>Цель</a:t>
            </a:r>
            <a:r>
              <a:rPr lang="ru-RU" sz="2000" dirty="0" smtClean="0"/>
              <a:t> </a:t>
            </a:r>
            <a:r>
              <a:rPr lang="ru-RU" sz="2000" dirty="0"/>
              <a:t>каждой работы  – объективная оценка индивидуальных достижений младшего школьника по математике</a:t>
            </a:r>
            <a:r>
              <a:rPr lang="ru-RU" sz="2000" dirty="0" smtClean="0"/>
              <a:t>.</a:t>
            </a:r>
            <a:endParaRPr lang="ru-RU" sz="2000" dirty="0"/>
          </a:p>
          <a:p>
            <a:pPr>
              <a:defRPr/>
            </a:pPr>
            <a:r>
              <a:rPr lang="ru-RU" sz="2000" b="1" dirty="0"/>
              <a:t>Объекты контроля. </a:t>
            </a:r>
            <a:r>
              <a:rPr lang="ru-RU" sz="2000" dirty="0"/>
              <a:t>П</a:t>
            </a:r>
            <a:r>
              <a:rPr lang="ru-RU" sz="2000" u="sng" dirty="0"/>
              <a:t>редметные</a:t>
            </a:r>
            <a:r>
              <a:rPr lang="ru-RU" sz="2000" dirty="0"/>
              <a:t> умения, характеризующие: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ru-RU" sz="2000" dirty="0"/>
              <a:t>способность применять  правила и алгоритмы в стандартных ситуациях  (работа 1);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ru-RU" sz="2000" dirty="0"/>
              <a:t>способность применять  правила и алгоритмы в стандартных и нестандартных ситуациях  (работа 2);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ru-RU" sz="2000" dirty="0"/>
              <a:t>готовность  увидеть и решить математическими методами проблему на новом предметном содержании (работа 3).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DB0E8A88-2E0D-4B92-9F5C-9E9E98DB58C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58565" y="3978729"/>
          <a:ext cx="6720407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0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71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23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60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40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42037">
                <a:tc rowSpan="2"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chemeClr val="tx1"/>
                          </a:solidFill>
                        </a:rPr>
                        <a:t>4 клас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</a:rPr>
                        <a:t>Всего задани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chemeClr val="tx1"/>
                          </a:solidFill>
                        </a:rPr>
                        <a:t>Распределение заданий по уровням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2037"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chemeClr val="tx1"/>
                          </a:solidFill>
                        </a:rPr>
                        <a:t>Базовог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chemeClr val="tx1"/>
                          </a:solidFill>
                        </a:rPr>
                        <a:t>Повышенног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chemeClr val="tx1"/>
                          </a:solidFill>
                        </a:rPr>
                        <a:t>Высоког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2037">
                <a:tc>
                  <a:txBody>
                    <a:bodyPr/>
                    <a:lstStyle/>
                    <a:p>
                      <a:r>
                        <a:rPr lang="ru-RU" sz="1800" dirty="0"/>
                        <a:t>Работа 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2037">
                <a:tc>
                  <a:txBody>
                    <a:bodyPr/>
                    <a:lstStyle/>
                    <a:p>
                      <a:r>
                        <a:rPr lang="ru-RU" sz="1800" dirty="0"/>
                        <a:t>Работа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1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-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2037">
                <a:tc>
                  <a:txBody>
                    <a:bodyPr/>
                    <a:lstStyle/>
                    <a:p>
                      <a:r>
                        <a:rPr lang="ru-RU" sz="1800" dirty="0"/>
                        <a:t>Работа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A1524F71-128F-4786-A02A-7C7A7BCA8F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049" y="3668645"/>
            <a:ext cx="1363280" cy="18000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Picture 2" descr="http://qrcoder.ru/code/?https%3A%2F%2Frosuchebnik.ru%2Fproduct%2Fvserossiyskie-proverochnye-raboty-matematika-4-klass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6864" y="4490958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718064" y="207611"/>
            <a:ext cx="9428703" cy="433560"/>
          </a:xfrm>
        </p:spPr>
        <p:txBody>
          <a:bodyPr/>
          <a:lstStyle/>
          <a:p>
            <a:pPr>
              <a:spcBef>
                <a:spcPct val="20000"/>
              </a:spcBef>
              <a:defRPr/>
            </a:pPr>
            <a:r>
              <a:rPr lang="ru-RU" sz="2800" dirty="0" err="1">
                <a:cs typeface="Arial" panose="020B0604020202020204" pitchFamily="34" charset="0"/>
              </a:rPr>
              <a:t>Разноуровневые</a:t>
            </a:r>
            <a:r>
              <a:rPr lang="ru-RU" sz="2800" dirty="0">
                <a:cs typeface="Arial" panose="020B0604020202020204" pitchFamily="34" charset="0"/>
              </a:rPr>
              <a:t> проверочные работы. Математика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" name="Группа 5"/>
          <p:cNvGrpSpPr/>
          <p:nvPr/>
        </p:nvGrpSpPr>
        <p:grpSpPr>
          <a:xfrm>
            <a:off x="11394704" y="0"/>
            <a:ext cx="813284" cy="6790912"/>
            <a:chOff x="8531749" y="-3442"/>
            <a:chExt cx="609963" cy="5093184"/>
          </a:xfrm>
        </p:grpSpPr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7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3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4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8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45" name="Рисунок 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332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AD505320-4BD6-4A26-88DA-0C3B0E06114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34433" y="1221358"/>
          <a:ext cx="10944000" cy="393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1654297957"/>
                    </a:ext>
                  </a:extLst>
                </a:gridCol>
                <a:gridCol w="6804000">
                  <a:extLst>
                    <a:ext uri="{9D8B030D-6E8A-4147-A177-3AD203B41FA5}">
                      <a16:colId xmlns:a16="http://schemas.microsoft.com/office/drawing/2014/main" val="2551348052"/>
                    </a:ext>
                  </a:extLst>
                </a:gridCol>
                <a:gridCol w="2700000">
                  <a:extLst>
                    <a:ext uri="{9D8B030D-6E8A-4147-A177-3AD203B41FA5}">
                      <a16:colId xmlns:a16="http://schemas.microsoft.com/office/drawing/2014/main" val="733111310"/>
                    </a:ext>
                  </a:extLst>
                </a:gridCol>
              </a:tblGrid>
              <a:tr h="508534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ru-RU" sz="2000" dirty="0">
                          <a:solidFill>
                            <a:srgbClr val="2D3494"/>
                          </a:solidFill>
                          <a:latin typeface="+mn-lt"/>
                        </a:rPr>
                        <a:t>Код </a:t>
                      </a:r>
                      <a:r>
                        <a:rPr lang="ru-RU" sz="2000" dirty="0" smtClean="0">
                          <a:solidFill>
                            <a:srgbClr val="2D3494"/>
                          </a:solidFill>
                          <a:latin typeface="+mn-lt"/>
                        </a:rPr>
                        <a:t>результата</a:t>
                      </a:r>
                      <a:endParaRPr lang="ru-RU" sz="2000" dirty="0">
                        <a:solidFill>
                          <a:srgbClr val="2D3494"/>
                        </a:solidFill>
                        <a:latin typeface="+mn-lt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ru-RU" sz="2000" dirty="0">
                          <a:solidFill>
                            <a:srgbClr val="2D3494"/>
                          </a:solidFill>
                          <a:latin typeface="+mn-lt"/>
                        </a:rPr>
                        <a:t>Выпускник научится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ru-RU" sz="2000" dirty="0">
                          <a:solidFill>
                            <a:srgbClr val="2D3494"/>
                          </a:solidFill>
                          <a:latin typeface="+mn-lt"/>
                        </a:rPr>
                        <a:t>Работа и номер задания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833179"/>
                  </a:ext>
                </a:extLst>
              </a:tr>
              <a:tr h="107987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ru-RU" sz="2000" dirty="0">
                          <a:latin typeface="+mn-lt"/>
                        </a:rPr>
                        <a:t>3.1.1 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ru-RU" sz="2000" dirty="0">
                          <a:latin typeface="+mn-lt"/>
                        </a:rPr>
                        <a:t>Анализировать задачу, устанавливать зависимость между величинами, взаимосвязь между условием и вопросом задачи; решать задачи арифметическим способом (в 1—2 действия), записывать решение или объяснение полученного ответа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</a:rPr>
                        <a:t>ПР-1, № 5,  24, ПР-2, № 8, 12,  17, ПР-3, № 4, </a:t>
                      </a:r>
                      <a:r>
                        <a:rPr lang="ru-RU" sz="2000" dirty="0" smtClean="0">
                          <a:latin typeface="+mn-lt"/>
                        </a:rPr>
                        <a:t>16</a:t>
                      </a:r>
                      <a:endParaRPr lang="ru-RU" sz="2000" dirty="0">
                        <a:latin typeface="+mn-lt"/>
                      </a:endParaRPr>
                    </a:p>
                    <a:p>
                      <a:pPr>
                        <a:spcBef>
                          <a:spcPts val="600"/>
                        </a:spcBef>
                      </a:pPr>
                      <a:endParaRPr lang="ru-RU" sz="2000" dirty="0">
                        <a:latin typeface="+mn-lt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8348587"/>
                  </a:ext>
                </a:extLst>
              </a:tr>
              <a:tr h="45984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ru-RU" sz="2000" dirty="0">
                          <a:latin typeface="+mn-lt"/>
                        </a:rPr>
                        <a:t>3.1.2 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</a:rPr>
                        <a:t>Планировать ход решения задачи, оценивать правильность хода решения и реальность ответа на вопрос задачи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</a:rPr>
                        <a:t>ПР-1, № 18,  24, ПР-2, № 3 ПР-3, № 12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4094937"/>
                  </a:ext>
                </a:extLst>
              </a:tr>
              <a:tr h="89598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ru-RU" sz="2000" dirty="0">
                          <a:latin typeface="+mn-lt"/>
                        </a:rPr>
                        <a:t>3.1.3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ru-RU" sz="2000" dirty="0">
                          <a:latin typeface="+mn-lt"/>
                        </a:rPr>
                        <a:t>Понимать смысл доли величины, решать задачи на нахождение доли величины и величины по значению её доли (половина, треть, четверть, пятая, десятая часть)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</a:rPr>
                        <a:t>ПР-1, № 7, ПР-2, № 4, ПР-3, № 6,  14</a:t>
                      </a:r>
                      <a:r>
                        <a:rPr lang="ru-RU" sz="2000" dirty="0" smtClean="0">
                          <a:latin typeface="+mn-lt"/>
                        </a:rPr>
                        <a:t>, </a:t>
                      </a:r>
                      <a:r>
                        <a:rPr lang="ru-RU" sz="2000" dirty="0">
                          <a:latin typeface="+mn-lt"/>
                        </a:rPr>
                        <a:t>18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106836"/>
                  </a:ext>
                </a:extLst>
              </a:tr>
            </a:tbl>
          </a:graphicData>
        </a:graphic>
      </p:graphicFrame>
      <p:sp>
        <p:nvSpPr>
          <p:cNvPr id="9" name="Заголовок 7"/>
          <p:cNvSpPr txBox="1">
            <a:spLocks/>
          </p:cNvSpPr>
          <p:nvPr/>
        </p:nvSpPr>
        <p:spPr>
          <a:xfrm>
            <a:off x="805693" y="502864"/>
            <a:ext cx="11025004" cy="3243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  <a:defRPr/>
            </a:pPr>
            <a:r>
              <a:rPr lang="ru-RU" sz="2800" dirty="0" smtClean="0">
                <a:cs typeface="Arial" panose="020B0604020202020204" pitchFamily="34" charset="0"/>
              </a:rPr>
              <a:t>Кодификатор (фрагмент: раздел «Работа с текстовыми задачами»)</a:t>
            </a:r>
            <a:endParaRPr lang="ru-RU" sz="2800" dirty="0"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2" name="Группа 5"/>
          <p:cNvGrpSpPr/>
          <p:nvPr/>
        </p:nvGrpSpPr>
        <p:grpSpPr>
          <a:xfrm>
            <a:off x="11394704" y="0"/>
            <a:ext cx="813284" cy="6790912"/>
            <a:chOff x="8531749" y="-3442"/>
            <a:chExt cx="609963" cy="5093184"/>
          </a:xfrm>
        </p:grpSpPr>
        <p:sp>
          <p:nvSpPr>
            <p:cNvPr id="23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5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1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6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43" name="Рисунок 4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391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68036" y="573850"/>
            <a:ext cx="11520000" cy="648642"/>
          </a:xfrm>
        </p:spPr>
        <p:txBody>
          <a:bodyPr/>
          <a:lstStyle/>
          <a:p>
            <a:r>
              <a:rPr lang="ru-RU" sz="2800" dirty="0" smtClean="0"/>
              <a:t>Серия пособий «Готовимся к Всероссийской проверочной работе»</a:t>
            </a:r>
            <a:endParaRPr lang="ru-RU" sz="2800" dirty="0"/>
          </a:p>
        </p:txBody>
      </p:sp>
      <p:pic>
        <p:nvPicPr>
          <p:cNvPr id="90114" name="Picture 2" descr="Изображение Готовимся к Всероссийской проверочной работе. Русский язык. Рабочая тетрадь. 4 класс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8202" y="1464403"/>
            <a:ext cx="2048718" cy="2792190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116" name="Picture 4" descr="Изображение Готовимся к Всероссийской проверочной работе. Математика. Рабочая тетрадь. 4 класс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240" y="1448575"/>
            <a:ext cx="2083289" cy="2734627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118" name="Picture 6" descr="Изображение Готовимся к Всероссийской проверочной работе. Окружающий мир. Рабочая тетрадь. 4 класс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506" y="1474837"/>
            <a:ext cx="2025215" cy="2763408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138" name="Picture 2" descr="Изображение Готовимся к Всероссийской проверочной работе. Русский язык. Математика. Окружающий мир. Методические рекомендации. 4 класс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9361" y="1460445"/>
            <a:ext cx="2012436" cy="2777799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592664" y="5517571"/>
            <a:ext cx="21632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7"/>
              </a:rPr>
              <a:t>https://</a:t>
            </a:r>
            <a:r>
              <a:rPr lang="en-US" dirty="0" smtClean="0">
                <a:hlinkClick r:id="rId7"/>
              </a:rPr>
              <a:t>clck.ru/Y8iF3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80226" name="Picture 2" descr="http://disk.yandex.net/qr/?clean=1&amp;text=https://clck.ru/Y8iF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4193" y="4928445"/>
            <a:ext cx="1190625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Группа 1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9"/>
          <a:srcRect l="93160" t="9697" r="1818" b="27689"/>
          <a:stretch/>
        </p:blipFill>
        <p:spPr>
          <a:xfrm>
            <a:off x="11417623" y="-36575"/>
            <a:ext cx="803565" cy="6790920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000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751062" y="256213"/>
            <a:ext cx="7396548" cy="472850"/>
          </a:xfrm>
        </p:spPr>
        <p:txBody>
          <a:bodyPr/>
          <a:lstStyle/>
          <a:p>
            <a:r>
              <a:rPr lang="ru-RU" dirty="0" smtClean="0"/>
              <a:t>Серия «ВПР. 10 типовых вариантов»</a:t>
            </a:r>
            <a:endParaRPr lang="ru-RU" dirty="0"/>
          </a:p>
        </p:txBody>
      </p:sp>
      <p:pic>
        <p:nvPicPr>
          <p:cNvPr id="90114" name="Picture 2" descr="Изображение Всероссийские проверочные работы. Русский язык. 10 типовых вариантов. 4 класс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014" y="1205442"/>
            <a:ext cx="3117977" cy="4112440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116" name="Picture 4" descr="Изображение Всероссийские проверочные работы. Окружающий мир. 10 типовых вариантов. 4 класс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4368" y="1214587"/>
            <a:ext cx="2947924" cy="4112440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118" name="Picture 6" descr="Изображение Всероссийские проверочные работы. Математика. 10 типовых вариантов. 4 класс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172" y="1214587"/>
            <a:ext cx="3111044" cy="4103295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255582" y="5803406"/>
            <a:ext cx="21632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5"/>
              </a:rPr>
              <a:t>https://</a:t>
            </a:r>
            <a:r>
              <a:rPr lang="en-US" dirty="0" smtClean="0">
                <a:hlinkClick r:id="rId5"/>
              </a:rPr>
              <a:t>clck.ru/Y8iPZ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81252" name="Picture 4" descr="http://disk.yandex.net/qr/?clean=1&amp;text=https://clck.ru/Y8iPZ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870" y="5459089"/>
            <a:ext cx="1190625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Группа 1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7"/>
          <a:srcRect l="93160" t="9697" r="1818" b="27689"/>
          <a:stretch/>
        </p:blipFill>
        <p:spPr>
          <a:xfrm>
            <a:off x="11417623" y="-36575"/>
            <a:ext cx="803565" cy="679092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6973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274" name="Picture 2" descr="Изображение Всероссийские проверочные работы. Математика. Рабочая тетрадь. 4 класс. В 2 частях. Часть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856" y="772884"/>
            <a:ext cx="2613025" cy="3438191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276" name="Picture 4" descr="Изображение Всероссийские проверочные работы. Русский язык. Рабочая тетрадь. 4 класс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0078" y="772884"/>
            <a:ext cx="2646151" cy="3490127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278" name="Picture 6" descr="Изображение Всероссийские проверочные работы. Окружающий мир. Рабочая тетрадь. 4 класс. В 2 частях. Часть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843" y="759026"/>
            <a:ext cx="2631757" cy="3479487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638822" y="5247305"/>
            <a:ext cx="22260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6"/>
              </a:rPr>
              <a:t>https://</a:t>
            </a:r>
            <a:r>
              <a:rPr lang="en-US" dirty="0" smtClean="0">
                <a:hlinkClick r:id="rId6"/>
              </a:rPr>
              <a:t>clck.ru/Y8koX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82280" name="Picture 8" descr="http://disk.yandex.net/qr/?clean=1&amp;text=https://clck.ru/Y8koX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9096" y="4568309"/>
            <a:ext cx="1190625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7063688" y="5240211"/>
            <a:ext cx="22594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8"/>
              </a:rPr>
              <a:t>https://</a:t>
            </a:r>
            <a:r>
              <a:rPr lang="en-US" dirty="0" smtClean="0">
                <a:hlinkClick r:id="rId8"/>
              </a:rPr>
              <a:t>clck.ru/Y8m8f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82282" name="Picture 10" descr="http://disk.yandex.net/qr/?clean=1&amp;text=https://clck.ru/Y8m8f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5604" y="4568308"/>
            <a:ext cx="1190625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Группа 1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10"/>
          <a:srcRect l="93160" t="9697" r="1818" b="27689"/>
          <a:stretch/>
        </p:blipFill>
        <p:spPr>
          <a:xfrm>
            <a:off x="11417623" y="-36575"/>
            <a:ext cx="803565" cy="6790920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1" name="Заголовок 3"/>
          <p:cNvSpPr>
            <a:spLocks noGrp="1"/>
          </p:cNvSpPr>
          <p:nvPr>
            <p:ph type="title"/>
          </p:nvPr>
        </p:nvSpPr>
        <p:spPr>
          <a:xfrm>
            <a:off x="2751062" y="256213"/>
            <a:ext cx="7396548" cy="472850"/>
          </a:xfrm>
        </p:spPr>
        <p:txBody>
          <a:bodyPr/>
          <a:lstStyle/>
          <a:p>
            <a:r>
              <a:rPr lang="ru-RU" dirty="0" smtClean="0"/>
              <a:t>Серия «Всероссийские проверочные работы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63864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-3051" y="1029097"/>
            <a:ext cx="12191999" cy="5371703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452" name="TextBox 451"/>
          <p:cNvSpPr txBox="1"/>
          <p:nvPr/>
        </p:nvSpPr>
        <p:spPr>
          <a:xfrm>
            <a:off x="7915669" y="2001762"/>
            <a:ext cx="3452545" cy="3539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r>
              <a:rPr lang="ru-RU" sz="2000" dirty="0" smtClean="0">
                <a:solidFill>
                  <a:schemeClr val="bg1"/>
                </a:solidFill>
                <a:latin typeface="+mn-lt"/>
              </a:rPr>
              <a:t>  </a:t>
            </a:r>
            <a:r>
              <a:rPr lang="ru-RU" sz="1600" dirty="0" smtClean="0">
                <a:solidFill>
                  <a:schemeClr val="bg1"/>
                </a:solidFill>
                <a:latin typeface="+mn-lt"/>
              </a:rPr>
              <a:t>  </a:t>
            </a:r>
            <a:r>
              <a:rPr lang="ru-RU" sz="2000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2000" dirty="0" smtClean="0">
                <a:solidFill>
                  <a:schemeClr val="bg1"/>
                </a:solidFill>
                <a:latin typeface="+mn-lt"/>
                <a:hlinkClick r:id="rId4"/>
              </a:rPr>
              <a:t>https</a:t>
            </a:r>
            <a:r>
              <a:rPr lang="en-US" sz="2000" dirty="0">
                <a:solidFill>
                  <a:schemeClr val="bg1"/>
                </a:solidFill>
                <a:latin typeface="+mn-lt"/>
                <a:hlinkClick r:id="rId4"/>
              </a:rPr>
              <a:t>://uchitel.club</a:t>
            </a:r>
            <a:r>
              <a:rPr lang="en-US" sz="2000" dirty="0" smtClean="0">
                <a:solidFill>
                  <a:schemeClr val="bg1"/>
                </a:solidFill>
                <a:latin typeface="+mn-lt"/>
                <a:hlinkClick r:id="rId4"/>
              </a:rPr>
              <a:t>/</a:t>
            </a:r>
            <a:r>
              <a:rPr lang="ru-RU" sz="2000" dirty="0" smtClean="0">
                <a:solidFill>
                  <a:schemeClr val="bg1"/>
                </a:solidFill>
                <a:latin typeface="+mn-lt"/>
              </a:rPr>
              <a:t> </a:t>
            </a:r>
            <a:endParaRPr lang="ru-RU" sz="2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53" name="TextBox 452"/>
          <p:cNvSpPr txBox="1"/>
          <p:nvPr/>
        </p:nvSpPr>
        <p:spPr>
          <a:xfrm>
            <a:off x="7915671" y="2686354"/>
            <a:ext cx="3609064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ru-RU" dirty="0" smtClean="0"/>
              <a:t>Портал, на </a:t>
            </a:r>
            <a:r>
              <a:rPr lang="ru-RU" dirty="0"/>
              <a:t>котором </a:t>
            </a:r>
            <a:r>
              <a:rPr lang="ru-RU" dirty="0" smtClean="0"/>
              <a:t>собраны материалы в  помощь учителям и родителям для организации </a:t>
            </a:r>
            <a:r>
              <a:rPr lang="ru-RU" dirty="0"/>
              <a:t>обучения </a:t>
            </a:r>
            <a:endParaRPr lang="ru-RU" dirty="0" smtClean="0"/>
          </a:p>
          <a:p>
            <a:r>
              <a:rPr lang="ru-RU" dirty="0" smtClean="0"/>
              <a:t>Консультации </a:t>
            </a:r>
            <a:r>
              <a:rPr lang="ru-RU" dirty="0"/>
              <a:t>при выполнении домашних заданий в </a:t>
            </a:r>
            <a:r>
              <a:rPr lang="ru-RU" dirty="0" err="1"/>
              <a:t>видеоформате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/>
              <a:t> </a:t>
            </a:r>
            <a:r>
              <a:rPr lang="ru-RU" dirty="0" smtClean="0"/>
              <a:t>Обмен </a:t>
            </a:r>
            <a:r>
              <a:rPr lang="ru-RU" dirty="0"/>
              <a:t>лучшими практиками, их апробация и распространение в сотрудничестве с органами управления </a:t>
            </a:r>
            <a:r>
              <a:rPr lang="ru-RU" dirty="0" smtClean="0"/>
              <a:t>образованием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78" y="1173575"/>
            <a:ext cx="6802924" cy="5082746"/>
          </a:xfrm>
          <a:prstGeom prst="rect">
            <a:avLst/>
          </a:prstGeom>
        </p:spPr>
      </p:pic>
      <p:sp>
        <p:nvSpPr>
          <p:cNvPr id="13" name="Прямоугольник 37">
            <a:extLst>
              <a:ext uri="{FF2B5EF4-FFF2-40B4-BE49-F238E27FC236}">
                <a16:creationId xmlns:a16="http://schemas.microsoft.com/office/drawing/2014/main" id="{ADD2FEA0-DF27-4BDA-A6EA-B34D383D5BAA}"/>
              </a:ext>
            </a:extLst>
          </p:cNvPr>
          <p:cNvSpPr/>
          <p:nvPr/>
        </p:nvSpPr>
        <p:spPr>
          <a:xfrm>
            <a:off x="0" y="6615411"/>
            <a:ext cx="2718262" cy="1631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 panose="02020603050405020304" pitchFamily="18" charset="0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 panose="02020603050405020304" pitchFamily="18" charset="0"/>
              </a:rPr>
              <a:t>2021</a:t>
            </a:r>
            <a:endParaRPr lang="ru-RU" sz="1000" dirty="0">
              <a:solidFill>
                <a:schemeClr val="bg1">
                  <a:lumMod val="65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2" name="Прямая соединительная линия 3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2154518" y="156734"/>
            <a:ext cx="49814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етодическая поддержка педагогов</a:t>
            </a:r>
            <a:endParaRPr lang="ru-RU" sz="24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225151" y="494441"/>
            <a:ext cx="2381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hlinkClick r:id="rId6"/>
              </a:rPr>
              <a:t>https://shop.prosv.ru</a:t>
            </a:r>
            <a:r>
              <a:rPr lang="en-US" b="1" dirty="0" smtClean="0">
                <a:hlinkClick r:id="rId6"/>
              </a:rPr>
              <a:t>/</a:t>
            </a:r>
            <a:r>
              <a:rPr lang="ru-RU" b="1" dirty="0" smtClean="0"/>
              <a:t>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45360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43153" y="-157006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98" name="Прямоугольник 97"/>
          <p:cNvSpPr/>
          <p:nvPr/>
        </p:nvSpPr>
        <p:spPr>
          <a:xfrm>
            <a:off x="229336" y="2491966"/>
            <a:ext cx="11819633" cy="372134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1080" indent="-180720" algn="ctr">
              <a:lnSpc>
                <a:spcPct val="100000"/>
              </a:lnSpc>
            </a:pPr>
            <a:r>
              <a:rPr lang="ru-RU" sz="3600" dirty="0" smtClean="0">
                <a:solidFill>
                  <a:schemeClr val="accent1">
                    <a:lumMod val="50000"/>
                  </a:schemeClr>
                </a:solidFill>
              </a:rPr>
              <a:t>Спасибо за внимание</a:t>
            </a:r>
            <a:r>
              <a:rPr lang="ru-RU" sz="3600" dirty="0" smtClean="0">
                <a:solidFill>
                  <a:schemeClr val="accent1">
                    <a:lumMod val="50000"/>
                  </a:schemeClr>
                </a:solidFill>
              </a:rPr>
              <a:t>!</a:t>
            </a:r>
          </a:p>
          <a:p>
            <a:pPr algn="ctr"/>
            <a:r>
              <a:rPr lang="en-US" sz="2400" dirty="0" smtClean="0">
                <a:solidFill>
                  <a:schemeClr val="accent1">
                    <a:lumMod val="50000"/>
                  </a:schemeClr>
                </a:solidFill>
                <a:hlinkClick r:id="rId6"/>
              </a:rPr>
              <a:t>Ozubairova@prosv.ru</a:t>
            </a:r>
            <a:endParaRPr lang="en-US" sz="24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en-US" sz="2400" dirty="0" smtClean="0">
                <a:solidFill>
                  <a:schemeClr val="accent1">
                    <a:lumMod val="50000"/>
                  </a:schemeClr>
                </a:solidFill>
              </a:rPr>
              <a:t>8-916-337-16-91</a:t>
            </a:r>
            <a:endParaRPr lang="ru-RU" sz="2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2" y="538285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3"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1909444" y="5023146"/>
            <a:ext cx="8459420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</a:t>
            </a:r>
            <a:r>
              <a:rPr lang="ru-RU" sz="12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 16, стр. 3, подъезд 8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бизнес-центр 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: 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vopro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@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prosv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.</a:t>
            </a:r>
            <a:r>
              <a:rPr lang="en-US" sz="1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9"/>
              </a:rPr>
              <a:t>ru</a:t>
            </a:r>
            <a:endParaRPr lang="ru-RU" sz="12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6" name="Рисунок 24">
            <a:hlinkClick r:id="rId10"/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184" y="4735857"/>
            <a:ext cx="1477452" cy="1477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042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0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7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8"/>
          <a:srcRect l="23651" t="47239" r="31270" b="13396"/>
          <a:stretch/>
        </p:blipFill>
        <p:spPr>
          <a:xfrm>
            <a:off x="1709811" y="567464"/>
            <a:ext cx="8598960" cy="577044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8" name="Группа 7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3" name="Рисунок 2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24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7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3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4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8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496315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Объект 2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0845196" cy="4896544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ru-RU" altLang="ru-RU" b="1" dirty="0" smtClean="0"/>
              <a:t> </a:t>
            </a:r>
            <a:endParaRPr lang="ru-RU" altLang="ru-RU" sz="40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ru-RU" altLang="ru-RU" sz="2400" b="1" dirty="0"/>
              <a:t>Приоритет чтения художественного </a:t>
            </a:r>
            <a:r>
              <a:rPr lang="ru-RU" altLang="ru-RU" sz="2400" b="1" dirty="0" smtClean="0"/>
              <a:t>текста.</a:t>
            </a:r>
          </a:p>
          <a:p>
            <a:pPr marL="0" indent="0">
              <a:buNone/>
            </a:pPr>
            <a:r>
              <a:rPr lang="ru-RU" altLang="ru-RU" sz="2400" b="1" dirty="0" smtClean="0"/>
              <a:t>Текст </a:t>
            </a:r>
            <a:r>
              <a:rPr lang="ru-RU" altLang="ru-RU" sz="2400" b="1" dirty="0"/>
              <a:t>на других уроках не является предметом обсуждения, исследования, анализа. </a:t>
            </a:r>
          </a:p>
          <a:p>
            <a:pPr marL="0" indent="0" algn="just">
              <a:buNone/>
            </a:pPr>
            <a:r>
              <a:rPr lang="ru-RU" altLang="ru-RU" sz="2400" dirty="0"/>
              <a:t>     Например: </a:t>
            </a:r>
          </a:p>
          <a:p>
            <a:pPr marL="0" indent="0" algn="l">
              <a:buNone/>
            </a:pPr>
            <a:r>
              <a:rPr lang="ru-RU" altLang="ru-RU" sz="2400" dirty="0"/>
              <a:t>а</a:t>
            </a:r>
            <a:r>
              <a:rPr lang="ru-RU" altLang="ru-RU" sz="2600" dirty="0"/>
              <a:t>) в </a:t>
            </a:r>
            <a:r>
              <a:rPr lang="ru-RU" altLang="ru-RU" sz="2600" i="1" dirty="0"/>
              <a:t>научно-познавательных текстах </a:t>
            </a:r>
            <a:r>
              <a:rPr lang="ru-RU" altLang="ru-RU" sz="2600" dirty="0"/>
              <a:t>не могут выделить научную информацию, описания, элементы фантастики, </a:t>
            </a:r>
            <a:r>
              <a:rPr lang="ru-RU" altLang="ru-RU" sz="2600" i="1" dirty="0"/>
              <a:t>главную мысль текста</a:t>
            </a:r>
            <a:r>
              <a:rPr lang="ru-RU" altLang="ru-RU" sz="2600" i="1" dirty="0" smtClean="0"/>
              <a:t>;</a:t>
            </a:r>
          </a:p>
          <a:p>
            <a:pPr marL="0" indent="0" algn="l">
              <a:buNone/>
            </a:pPr>
            <a:endParaRPr lang="ru-RU" altLang="ru-RU" sz="2600" i="1" dirty="0"/>
          </a:p>
          <a:p>
            <a:pPr marL="0" indent="0" algn="just">
              <a:buNone/>
            </a:pPr>
            <a:r>
              <a:rPr lang="ru-RU" altLang="ru-RU" sz="2600" dirty="0"/>
              <a:t>б) Не понимают, что в </a:t>
            </a:r>
            <a:r>
              <a:rPr lang="ru-RU" altLang="ru-RU" sz="2600" i="1" dirty="0"/>
              <a:t>тексте-инструкции</a:t>
            </a:r>
            <a:r>
              <a:rPr lang="ru-RU" altLang="ru-RU" sz="2600" dirty="0"/>
              <a:t> является главным для решения учебной задачи, не могут выделить обязательные «шаги» действия</a:t>
            </a:r>
            <a:r>
              <a:rPr lang="ru-RU" altLang="ru-RU" sz="2600" dirty="0" smtClean="0"/>
              <a:t>.</a:t>
            </a:r>
          </a:p>
          <a:p>
            <a:pPr marL="0" indent="0" algn="just">
              <a:buNone/>
            </a:pPr>
            <a:r>
              <a:rPr lang="ru-RU" altLang="ru-RU" sz="2600" dirty="0" smtClean="0"/>
              <a:t> </a:t>
            </a:r>
          </a:p>
          <a:p>
            <a:pPr marL="0" indent="0" algn="just">
              <a:buNone/>
            </a:pPr>
            <a:r>
              <a:rPr lang="ru-RU" altLang="ru-RU" sz="2600" dirty="0" smtClean="0"/>
              <a:t>в</a:t>
            </a:r>
            <a:r>
              <a:rPr lang="ru-RU" altLang="ru-RU" sz="2600" dirty="0"/>
              <a:t>) в учебном тексте самостоятельно затрудняются выделить учебную задачу; </a:t>
            </a:r>
            <a:endParaRPr lang="ru-RU" altLang="ru-RU" sz="2600" dirty="0" smtClean="0"/>
          </a:p>
          <a:p>
            <a:pPr marL="0" indent="0" algn="just">
              <a:buNone/>
            </a:pPr>
            <a:r>
              <a:rPr lang="ru-RU" altLang="ru-RU" sz="2600" dirty="0" smtClean="0"/>
              <a:t>  </a:t>
            </a:r>
            <a:endParaRPr lang="ru-RU" altLang="ru-RU" sz="2600" dirty="0"/>
          </a:p>
          <a:p>
            <a:pPr marL="0" indent="0" algn="just">
              <a:buNone/>
            </a:pPr>
            <a:r>
              <a:rPr lang="ru-RU" altLang="ru-RU" sz="2600" dirty="0" smtClean="0"/>
              <a:t>г</a:t>
            </a:r>
            <a:r>
              <a:rPr lang="ru-RU" altLang="ru-RU" sz="2600" dirty="0"/>
              <a:t>) в математическом тексте «не видят», можно ли при выделенных условиях решить   математическую задачу. </a:t>
            </a:r>
            <a:endParaRPr lang="ru-RU" altLang="ru-RU" sz="2600" dirty="0" smtClean="0"/>
          </a:p>
          <a:p>
            <a:pPr marL="0" indent="0" algn="just">
              <a:buNone/>
            </a:pPr>
            <a:r>
              <a:rPr lang="ru-RU" altLang="ru-RU" sz="2600" dirty="0" smtClean="0"/>
              <a:t>   </a:t>
            </a:r>
            <a:endParaRPr lang="ru-RU" altLang="ru-RU" sz="2600" dirty="0"/>
          </a:p>
          <a:p>
            <a:pPr marL="0" indent="0" algn="just">
              <a:buNone/>
            </a:pPr>
            <a:r>
              <a:rPr lang="ru-RU" altLang="ru-RU" sz="2600" dirty="0" smtClean="0"/>
              <a:t>   </a:t>
            </a:r>
            <a:r>
              <a:rPr lang="ru-RU" altLang="ru-RU" sz="2600" b="1" dirty="0"/>
              <a:t>Вывод</a:t>
            </a:r>
            <a:r>
              <a:rPr lang="ru-RU" altLang="ru-RU" sz="2600" dirty="0"/>
              <a:t>: нет переноса навыка работы с художественным текстом на осмысление других текстов. </a:t>
            </a:r>
          </a:p>
          <a:p>
            <a:pPr marL="0" indent="0" algn="just">
              <a:buNone/>
            </a:pPr>
            <a:r>
              <a:rPr lang="ru-RU" altLang="ru-RU" sz="2600" b="1" dirty="0"/>
              <a:t>   Задача: </a:t>
            </a:r>
            <a:r>
              <a:rPr lang="ru-RU" altLang="ru-RU" sz="2600" b="1" dirty="0">
                <a:solidFill>
                  <a:srgbClr val="4249AA"/>
                </a:solidFill>
              </a:rPr>
              <a:t>развивать способность выделять особенности текста и определять его тип.  </a:t>
            </a:r>
          </a:p>
          <a:p>
            <a:pPr marL="0" indent="0" algn="l">
              <a:buNone/>
            </a:pPr>
            <a:r>
              <a:rPr lang="ru-RU" altLang="ru-RU" sz="2600" dirty="0" smtClean="0"/>
              <a:t>  </a:t>
            </a:r>
            <a:endParaRPr lang="ru-RU" altLang="ru-RU" sz="2600" b="1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317200" y="200559"/>
            <a:ext cx="7893600" cy="445106"/>
          </a:xfrm>
        </p:spPr>
        <p:txBody>
          <a:bodyPr/>
          <a:lstStyle/>
          <a:p>
            <a:r>
              <a:rPr lang="ru-RU" altLang="ru-RU" sz="2800" dirty="0">
                <a:solidFill>
                  <a:srgbClr val="4249AA"/>
                </a:solidFill>
              </a:rPr>
              <a:t>Недостаточно владеют смысловым чтением</a:t>
            </a:r>
            <a:endParaRPr lang="ru-RU" sz="2800" dirty="0">
              <a:solidFill>
                <a:srgbClr val="4249AA"/>
              </a:solidFill>
            </a:endParaRPr>
          </a:p>
        </p:txBody>
      </p:sp>
      <p:sp>
        <p:nvSpPr>
          <p:cNvPr id="16387" name="Номер слайда 3"/>
          <p:cNvSpPr txBox="1">
            <a:spLocks noGrp="1" noChangeArrowheads="1"/>
          </p:cNvSpPr>
          <p:nvPr/>
        </p:nvSpPr>
        <p:spPr bwMode="auto">
          <a:xfrm>
            <a:off x="8077200" y="6356351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1" hangingPunct="1"/>
            <a:fld id="{28BE284D-876C-41E9-B143-EAC9B53267A9}" type="slidenum">
              <a:rPr lang="ru-RU" altLang="ru-RU" sz="1200">
                <a:solidFill>
                  <a:srgbClr val="898989"/>
                </a:solidFill>
                <a:latin typeface="Calibri" pitchFamily="34" charset="0"/>
              </a:rPr>
              <a:pPr algn="r" eaLnBrk="1" hangingPunct="1"/>
              <a:t>5</a:t>
            </a:fld>
            <a:endParaRPr lang="ru-RU" altLang="ru-RU" sz="1200">
              <a:solidFill>
                <a:srgbClr val="898989"/>
              </a:solidFill>
              <a:latin typeface="Calibri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461" y="1"/>
            <a:ext cx="11857567" cy="677289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82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0" name="Объект 4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/>
          <a:srcRect/>
          <a:stretch>
            <a:fillRect/>
          </a:stretch>
        </p:blipFill>
        <p:spPr>
          <a:xfrm>
            <a:off x="7101096" y="3936620"/>
            <a:ext cx="3668611" cy="2437478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9462" name="Picture 3"/>
          <p:cNvPicPr>
            <a:picLocks noChangeAspect="1" noChangeArrowheads="1"/>
          </p:cNvPicPr>
          <p:nvPr/>
        </p:nvPicPr>
        <p:blipFill>
          <a:blip r:embed="rId3" cstate="print"/>
          <a:srcRect b="67322"/>
          <a:stretch>
            <a:fillRect/>
          </a:stretch>
        </p:blipFill>
        <p:spPr bwMode="auto">
          <a:xfrm>
            <a:off x="182033" y="1260900"/>
            <a:ext cx="6314017" cy="1266825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9463" name="TextBox 9"/>
          <p:cNvSpPr txBox="1">
            <a:spLocks noChangeArrowheads="1"/>
          </p:cNvSpPr>
          <p:nvPr/>
        </p:nvSpPr>
        <p:spPr bwMode="auto">
          <a:xfrm>
            <a:off x="334433" y="2879999"/>
            <a:ext cx="6161617" cy="170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2000" b="1" dirty="0"/>
              <a:t>Вывод Кости</a:t>
            </a:r>
            <a:r>
              <a:rPr lang="ru-RU" sz="2000" dirty="0"/>
              <a:t>: У существительных женского рода мягкий знак после шипящих на конце слова пишется всегда, а у существительных мужского рода не пишется. </a:t>
            </a:r>
          </a:p>
          <a:p>
            <a:pPr algn="just">
              <a:spcAft>
                <a:spcPts val="600"/>
              </a:spcAft>
            </a:pPr>
            <a:r>
              <a:rPr lang="ru-RU" sz="2000" b="1" dirty="0"/>
              <a:t>Работа Кости</a:t>
            </a:r>
            <a:r>
              <a:rPr lang="ru-RU" sz="2000" dirty="0"/>
              <a:t>: много </a:t>
            </a:r>
            <a:r>
              <a:rPr lang="ru-RU" sz="2000" dirty="0" err="1"/>
              <a:t>тучь</a:t>
            </a:r>
            <a:r>
              <a:rPr lang="ru-RU" sz="2000" dirty="0"/>
              <a:t>, мало </a:t>
            </a:r>
            <a:r>
              <a:rPr lang="ru-RU" sz="2000" dirty="0" err="1"/>
              <a:t>задачь</a:t>
            </a:r>
            <a:r>
              <a:rPr lang="ru-RU" sz="2000" dirty="0"/>
              <a:t>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0548" y="608600"/>
            <a:ext cx="96763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294790"/>
                </a:solidFill>
              </a:rPr>
              <a:t>Не читают </a:t>
            </a:r>
            <a:r>
              <a:rPr lang="ru-RU" sz="2800" b="1" dirty="0" smtClean="0">
                <a:solidFill>
                  <a:srgbClr val="294790"/>
                </a:solidFill>
              </a:rPr>
              <a:t>формулировки заданий, правил </a:t>
            </a:r>
            <a:r>
              <a:rPr lang="ru-RU" sz="2800" b="1" dirty="0">
                <a:solidFill>
                  <a:srgbClr val="294790"/>
                </a:solidFill>
              </a:rPr>
              <a:t>и т.д. 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425863" cy="288000"/>
          </a:xfrm>
        </p:spPr>
        <p:txBody>
          <a:bodyPr/>
          <a:lstStyle/>
          <a:p>
            <a:r>
              <a:rPr lang="ru-RU" sz="1400" dirty="0" smtClean="0"/>
              <a:t>* Пример из УМК «Русский язык» под редакцией Иванова С.В.</a:t>
            </a:r>
            <a:endParaRPr lang="ru-RU" sz="1400" dirty="0"/>
          </a:p>
        </p:txBody>
      </p:sp>
      <p:pic>
        <p:nvPicPr>
          <p:cNvPr id="9" name="Picture 2" descr="C:\Users\Marina\AppData\Local\Microsoft\Windows\Temporary Internet Files\Content.IE5\KFQZFR40\ВПР_русский_обложка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53239" y="294059"/>
            <a:ext cx="1485352" cy="1908974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2" descr="http://qrcoder.ru/code/?https%3A%2F%2Frosuchebnik.ru%2Fproduct%2Frusskiy-yazyk-4-klass-vserossiyskaya-proverochnaya-rabota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8981" y="2277829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F670E02-8602-462B-B58F-E14C8A0A367D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367" y="4721802"/>
            <a:ext cx="1234698" cy="159789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Группа 13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0" name="Рисунок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31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4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5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5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9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3160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60" name="Объект 4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/>
          <a:srcRect/>
          <a:stretch>
            <a:fillRect/>
          </a:stretch>
        </p:blipFill>
        <p:spPr>
          <a:xfrm>
            <a:off x="7101096" y="3936620"/>
            <a:ext cx="3668611" cy="2437478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9462" name="Picture 3"/>
          <p:cNvPicPr>
            <a:picLocks noChangeAspect="1" noChangeArrowheads="1"/>
          </p:cNvPicPr>
          <p:nvPr/>
        </p:nvPicPr>
        <p:blipFill>
          <a:blip r:embed="rId3" cstate="print"/>
          <a:srcRect b="67322"/>
          <a:stretch>
            <a:fillRect/>
          </a:stretch>
        </p:blipFill>
        <p:spPr bwMode="auto">
          <a:xfrm>
            <a:off x="182033" y="1260900"/>
            <a:ext cx="6314017" cy="1266825"/>
          </a:xfrm>
          <a:prstGeom prst="rect">
            <a:avLst/>
          </a:prstGeom>
          <a:noFill/>
          <a:ln w="9525">
            <a:solidFill>
              <a:schemeClr val="tx1">
                <a:lumMod val="25000"/>
                <a:lumOff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9463" name="TextBox 9"/>
          <p:cNvSpPr txBox="1">
            <a:spLocks noChangeArrowheads="1"/>
          </p:cNvSpPr>
          <p:nvPr/>
        </p:nvSpPr>
        <p:spPr bwMode="auto">
          <a:xfrm>
            <a:off x="334433" y="2879999"/>
            <a:ext cx="6161617" cy="1708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2000" b="1" dirty="0"/>
              <a:t>Вывод Кости</a:t>
            </a:r>
            <a:r>
              <a:rPr lang="ru-RU" sz="2000" dirty="0"/>
              <a:t>: У существительных женского рода мягкий знак после шипящих на конце слова пишется всегда, а у существительных мужского рода не пишется. </a:t>
            </a:r>
          </a:p>
          <a:p>
            <a:pPr algn="just">
              <a:spcAft>
                <a:spcPts val="600"/>
              </a:spcAft>
            </a:pPr>
            <a:r>
              <a:rPr lang="ru-RU" sz="2000" b="1" dirty="0"/>
              <a:t>Работа Кости</a:t>
            </a:r>
            <a:r>
              <a:rPr lang="ru-RU" sz="2000" dirty="0"/>
              <a:t>: много </a:t>
            </a:r>
            <a:r>
              <a:rPr lang="ru-RU" sz="2000" dirty="0" err="1"/>
              <a:t>тучь</a:t>
            </a:r>
            <a:r>
              <a:rPr lang="ru-RU" sz="2000" dirty="0"/>
              <a:t>, мало </a:t>
            </a:r>
            <a:r>
              <a:rPr lang="ru-RU" sz="2000" dirty="0" err="1"/>
              <a:t>задачь</a:t>
            </a:r>
            <a:r>
              <a:rPr lang="ru-RU" sz="2000" dirty="0"/>
              <a:t>.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0548" y="608600"/>
            <a:ext cx="96763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b="1" dirty="0">
                <a:solidFill>
                  <a:srgbClr val="294790"/>
                </a:solidFill>
              </a:rPr>
              <a:t>Не читают </a:t>
            </a:r>
            <a:r>
              <a:rPr lang="ru-RU" sz="2800" b="1" dirty="0" smtClean="0">
                <a:solidFill>
                  <a:srgbClr val="294790"/>
                </a:solidFill>
              </a:rPr>
              <a:t>формулировки заданий, правил </a:t>
            </a:r>
            <a:r>
              <a:rPr lang="ru-RU" sz="2800" b="1" dirty="0">
                <a:solidFill>
                  <a:srgbClr val="294790"/>
                </a:solidFill>
              </a:rPr>
              <a:t>и т.д. </a:t>
            </a:r>
          </a:p>
        </p:txBody>
      </p:sp>
      <p:sp>
        <p:nvSpPr>
          <p:cNvPr id="18" name="Овал 17"/>
          <p:cNvSpPr/>
          <p:nvPr/>
        </p:nvSpPr>
        <p:spPr>
          <a:xfrm>
            <a:off x="2839222" y="1643854"/>
            <a:ext cx="3816350" cy="28972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425863" cy="288000"/>
          </a:xfrm>
        </p:spPr>
        <p:txBody>
          <a:bodyPr/>
          <a:lstStyle/>
          <a:p>
            <a:r>
              <a:rPr lang="ru-RU" sz="1400" dirty="0" smtClean="0"/>
              <a:t>* Пример из УМК «Русский язык» под редакцией Иванова С.В.</a:t>
            </a:r>
            <a:endParaRPr lang="ru-RU" sz="1400" dirty="0"/>
          </a:p>
        </p:txBody>
      </p:sp>
      <p:pic>
        <p:nvPicPr>
          <p:cNvPr id="9" name="Picture 2" descr="C:\Users\Marina\AppData\Local\Microsoft\Windows\Temporary Internet Files\Content.IE5\KFQZFR40\ВПР_русский_обложка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53239" y="294059"/>
            <a:ext cx="1485352" cy="1908974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2" descr="http://qrcoder.ru/code/?https%3A%2F%2Frosuchebnik.ru%2Fproduct%2Frusskiy-yazyk-4-klass-vserossiyskaya-proverochnaya-rabota%2F%3Futm_source%3Dqrcode%26utm_medium%3Dcpc%26utm_campaign%3Donlineurok-vpr4kl-150420&amp;8&amp;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8981" y="2277829"/>
            <a:ext cx="12600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F670E02-8602-462B-B58F-E14C8A0A367D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367" y="4721802"/>
            <a:ext cx="1234698" cy="159789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Группа 13"/>
          <p:cNvGrpSpPr/>
          <p:nvPr/>
        </p:nvGrpSpPr>
        <p:grpSpPr>
          <a:xfrm>
            <a:off x="318167" y="113073"/>
            <a:ext cx="1268960" cy="438775"/>
            <a:chOff x="254665" y="195486"/>
            <a:chExt cx="951720" cy="329081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0" name="Рисунок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72" y="6772890"/>
            <a:ext cx="12192000" cy="97559"/>
          </a:xfrm>
          <a:prstGeom prst="rect">
            <a:avLst/>
          </a:prstGeom>
        </p:spPr>
      </p:pic>
      <p:grpSp>
        <p:nvGrpSpPr>
          <p:cNvPr id="31" name="Группа 5"/>
          <p:cNvGrpSpPr/>
          <p:nvPr/>
        </p:nvGrpSpPr>
        <p:grpSpPr>
          <a:xfrm>
            <a:off x="11375665" y="0"/>
            <a:ext cx="813284" cy="6790912"/>
            <a:chOff x="8531749" y="-3442"/>
            <a:chExt cx="609963" cy="5093184"/>
          </a:xfrm>
        </p:grpSpPr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2"/>
            <p:cNvSpPr>
              <a:spLocks noChangeArrowheads="1"/>
            </p:cNvSpPr>
            <p:nvPr/>
          </p:nvSpPr>
          <p:spPr bwMode="auto">
            <a:xfrm>
              <a:off x="8531749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4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5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5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9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812471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9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518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9637" y="2973484"/>
            <a:ext cx="812363" cy="789239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49040"/>
            <a:ext cx="812363" cy="773033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3588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828799" y="200960"/>
            <a:ext cx="6696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</a:rPr>
              <a:t>Текстовая задача</a:t>
            </a:r>
            <a:endParaRPr lang="ru-RU" sz="28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2" descr="Я учусь считать. 1 класс. Рабочая тетрадь.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773651" y="318507"/>
            <a:ext cx="1814321" cy="2355594"/>
          </a:xfrm>
          <a:prstGeom prst="rect">
            <a:avLst/>
          </a:prstGeom>
          <a:noFill/>
        </p:spPr>
      </p:pic>
      <p:pic>
        <p:nvPicPr>
          <p:cNvPr id="51" name="Picture 2" descr="http://qrcoder.ru/code/?%2F%2Fhttps%3A%2F%2Fshop.prosv.ru%2Fmatematika--1-klass--ya-uchus-schitat--rabochaya-tetrad16178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9957" y="3046010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Рисунок 46"/>
          <p:cNvPicPr>
            <a:picLocks noChangeAspect="1"/>
          </p:cNvPicPr>
          <p:nvPr/>
        </p:nvPicPr>
        <p:blipFill rotWithShape="1">
          <a:blip r:embed="rId10"/>
          <a:srcRect l="52341" t="34702" r="38214" b="56395"/>
          <a:stretch/>
        </p:blipFill>
        <p:spPr>
          <a:xfrm>
            <a:off x="350740" y="1866534"/>
            <a:ext cx="2840477" cy="1673158"/>
          </a:xfrm>
          <a:prstGeom prst="rect">
            <a:avLst/>
          </a:prstGeom>
        </p:spPr>
      </p:pic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98287" y="1116441"/>
            <a:ext cx="8149307" cy="1500187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Когда из коробки взяли 9 конфет, то в ней осталось 5 конфет. Сколько конфет было в коробке?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929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/>
          <a:srcRect l="50902" t="29215" r="36273" b="64264"/>
          <a:stretch/>
        </p:blipFill>
        <p:spPr>
          <a:xfrm>
            <a:off x="295718" y="3679986"/>
            <a:ext cx="3856768" cy="1225685"/>
          </a:xfrm>
          <a:prstGeom prst="rect">
            <a:avLst/>
          </a:prstGeom>
        </p:spPr>
      </p:pic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3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11375669" y="2257518"/>
            <a:ext cx="812363" cy="754751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11375669" y="5276823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1376586" y="4522072"/>
            <a:ext cx="812363" cy="754751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>
            <a:off x="11375670" y="-4589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11379637" y="2973484"/>
            <a:ext cx="812363" cy="789239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1"/>
          <p:cNvSpPr>
            <a:spLocks noChangeArrowheads="1"/>
          </p:cNvSpPr>
          <p:nvPr/>
        </p:nvSpPr>
        <p:spPr bwMode="auto">
          <a:xfrm>
            <a:off x="11376586" y="6031572"/>
            <a:ext cx="812363" cy="754751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auto">
          <a:xfrm>
            <a:off x="11375670" y="1502768"/>
            <a:ext cx="812363" cy="754751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Rectangle 25"/>
          <p:cNvSpPr>
            <a:spLocks noChangeArrowheads="1"/>
          </p:cNvSpPr>
          <p:nvPr/>
        </p:nvSpPr>
        <p:spPr bwMode="auto">
          <a:xfrm>
            <a:off x="11376586" y="3749040"/>
            <a:ext cx="812363" cy="773033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29"/>
          <p:cNvSpPr>
            <a:spLocks noChangeArrowheads="1"/>
          </p:cNvSpPr>
          <p:nvPr/>
        </p:nvSpPr>
        <p:spPr bwMode="auto">
          <a:xfrm>
            <a:off x="11375670" y="748019"/>
            <a:ext cx="812363" cy="754751"/>
          </a:xfrm>
          <a:prstGeom prst="rect">
            <a:avLst/>
          </a:prstGeom>
          <a:solidFill>
            <a:srgbClr val="9ED442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2"/>
          <p:cNvSpPr>
            <a:spLocks noEditPoints="1"/>
          </p:cNvSpPr>
          <p:nvPr/>
        </p:nvSpPr>
        <p:spPr bwMode="auto">
          <a:xfrm>
            <a:off x="11600809" y="2514255"/>
            <a:ext cx="362085" cy="271895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0"/>
          <p:cNvSpPr>
            <a:spLocks noEditPoints="1"/>
          </p:cNvSpPr>
          <p:nvPr/>
        </p:nvSpPr>
        <p:spPr bwMode="auto">
          <a:xfrm>
            <a:off x="11601728" y="1744503"/>
            <a:ext cx="360248" cy="301287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69" name="Группа 68"/>
          <p:cNvGrpSpPr/>
          <p:nvPr/>
        </p:nvGrpSpPr>
        <p:grpSpPr>
          <a:xfrm>
            <a:off x="11614594" y="200960"/>
            <a:ext cx="334516" cy="361915"/>
            <a:chOff x="477468" y="2705515"/>
            <a:chExt cx="409903" cy="443477"/>
          </a:xfrm>
        </p:grpSpPr>
        <p:sp>
          <p:nvSpPr>
            <p:cNvPr id="70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1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72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3" name="Freeform 45"/>
          <p:cNvSpPr>
            <a:spLocks noEditPoints="1"/>
          </p:cNvSpPr>
          <p:nvPr/>
        </p:nvSpPr>
        <p:spPr bwMode="auto">
          <a:xfrm>
            <a:off x="11601728" y="966788"/>
            <a:ext cx="360248" cy="347216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89" name="Freeform 46"/>
          <p:cNvSpPr>
            <a:spLocks noEditPoints="1"/>
          </p:cNvSpPr>
          <p:nvPr/>
        </p:nvSpPr>
        <p:spPr bwMode="auto">
          <a:xfrm>
            <a:off x="11655949" y="3977824"/>
            <a:ext cx="251807" cy="36375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5" name="Freeform 52"/>
          <p:cNvSpPr>
            <a:spLocks noEditPoints="1"/>
          </p:cNvSpPr>
          <p:nvPr/>
        </p:nvSpPr>
        <p:spPr bwMode="auto">
          <a:xfrm>
            <a:off x="11635884" y="3223075"/>
            <a:ext cx="352896" cy="36375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Freeform 53"/>
          <p:cNvSpPr>
            <a:spLocks noEditPoints="1"/>
          </p:cNvSpPr>
          <p:nvPr/>
        </p:nvSpPr>
        <p:spPr bwMode="auto">
          <a:xfrm>
            <a:off x="11594376" y="6260448"/>
            <a:ext cx="374952" cy="327005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79" name="Группа 7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1828799" y="200960"/>
            <a:ext cx="6696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</a:rPr>
              <a:t>Текстовая задача</a:t>
            </a:r>
            <a:endParaRPr lang="ru-RU" sz="28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2" descr="Я учусь считать. 1 класс. Рабочая тетрадь.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773651" y="318507"/>
            <a:ext cx="1814321" cy="2355594"/>
          </a:xfrm>
          <a:prstGeom prst="rect">
            <a:avLst/>
          </a:prstGeom>
          <a:noFill/>
        </p:spPr>
      </p:pic>
      <p:pic>
        <p:nvPicPr>
          <p:cNvPr id="51" name="Picture 2" descr="http://qrcoder.ru/code/?%2F%2Fhttps%3A%2F%2Fshop.prosv.ru%2Fmatematika--1-klass--ya-uchus-schitat--rabochaya-tetrad16178&amp;4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9957" y="3046010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Рисунок 46"/>
          <p:cNvPicPr>
            <a:picLocks noChangeAspect="1"/>
          </p:cNvPicPr>
          <p:nvPr/>
        </p:nvPicPr>
        <p:blipFill rotWithShape="1">
          <a:blip r:embed="rId5"/>
          <a:srcRect l="52341" t="34702" r="38214" b="56395"/>
          <a:stretch/>
        </p:blipFill>
        <p:spPr>
          <a:xfrm>
            <a:off x="350740" y="1866534"/>
            <a:ext cx="2840477" cy="1673158"/>
          </a:xfrm>
          <a:prstGeom prst="rect">
            <a:avLst/>
          </a:prstGeom>
        </p:spPr>
      </p:pic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98287" y="1116441"/>
            <a:ext cx="8149307" cy="1500187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Когда из коробки взяли 9 конфет, то в ней осталось 5 конфет. Сколько конфет было в коробке?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895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7uyuD9w9hYwzROo5mG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pbKAcfQG6t.OmKEdIa6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teoQXW23Owp6LlCRLm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95</TotalTime>
  <Words>1497</Words>
  <Application>Microsoft Office PowerPoint</Application>
  <PresentationFormat>Широкоэкранный</PresentationFormat>
  <Paragraphs>234</Paragraphs>
  <Slides>39</Slides>
  <Notes>2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9</vt:i4>
      </vt:variant>
    </vt:vector>
  </HeadingPairs>
  <TitlesOfParts>
    <vt:vector size="52" baseType="lpstr">
      <vt:lpstr>Arial</vt:lpstr>
      <vt:lpstr>Book Antiqua</vt:lpstr>
      <vt:lpstr>Calibri</vt:lpstr>
      <vt:lpstr>Calibri Light</vt:lpstr>
      <vt:lpstr>DejaVu Sans</vt:lpstr>
      <vt:lpstr>Franklin Gothic Book</vt:lpstr>
      <vt:lpstr>Helvetica Light</vt:lpstr>
      <vt:lpstr>Open Sans</vt:lpstr>
      <vt:lpstr>Open Sans Condensed</vt:lpstr>
      <vt:lpstr>Open Sans Light</vt:lpstr>
      <vt:lpstr>Times New Roman</vt:lpstr>
      <vt:lpstr>Тема Office</vt:lpstr>
      <vt:lpstr>Слайд think-cell</vt:lpstr>
      <vt:lpstr>Презентация PowerPoint</vt:lpstr>
      <vt:lpstr>Что обсуждаем?</vt:lpstr>
      <vt:lpstr>Математика</vt:lpstr>
      <vt:lpstr>Презентация PowerPoint</vt:lpstr>
      <vt:lpstr>Недостаточно владеют смысловым чтением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Моделирующая деятельность</vt:lpstr>
      <vt:lpstr>ВПР по математике: решаем задачи, моделируя</vt:lpstr>
      <vt:lpstr>ВПР по математике: решаем задачи, работаем с информацией</vt:lpstr>
      <vt:lpstr>Работа с текстом и информацией</vt:lpstr>
      <vt:lpstr> Работа с информацией. Интерпретация</vt:lpstr>
      <vt:lpstr>Интерпретация информации</vt:lpstr>
      <vt:lpstr>Презентация PowerPoint</vt:lpstr>
      <vt:lpstr>Работаем с информацией</vt:lpstr>
      <vt:lpstr>Работаем с информацией</vt:lpstr>
      <vt:lpstr>ВПР по окружающему миру :  работаем с информацией</vt:lpstr>
      <vt:lpstr>ВПР по окружающему миру :  работаем с текстом и информацией </vt:lpstr>
      <vt:lpstr>Презентация PowerPoint</vt:lpstr>
      <vt:lpstr>Почему на уровне образовательной организации контроль в начальной школе должен быть разноуровневым?</vt:lpstr>
      <vt:lpstr>Инструментарий. Русский язык</vt:lpstr>
      <vt:lpstr>Структура тетради  </vt:lpstr>
      <vt:lpstr>Структура тетради  </vt:lpstr>
      <vt:lpstr>Работа №4</vt:lpstr>
      <vt:lpstr>Работа № 5.  Третья группа заданий</vt:lpstr>
      <vt:lpstr>Работа № 5.  Третья группа заданий</vt:lpstr>
      <vt:lpstr>Инструментарий. Математика</vt:lpstr>
      <vt:lpstr>Разноуровневые проверочные работы. Математика</vt:lpstr>
      <vt:lpstr>Презентация PowerPoint</vt:lpstr>
      <vt:lpstr>Серия пособий «Готовимся к Всероссийской проверочной работе»</vt:lpstr>
      <vt:lpstr>Серия «ВПР. 10 типовых вариантов»</vt:lpstr>
      <vt:lpstr>Серия «Всероссийские проверочные работы»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ачева Екатерина Андреевна</dc:creator>
  <cp:lastModifiedBy>Зубаирова Оксана Владимировна</cp:lastModifiedBy>
  <cp:revision>600</cp:revision>
  <dcterms:created xsi:type="dcterms:W3CDTF">2020-02-25T09:30:21Z</dcterms:created>
  <dcterms:modified xsi:type="dcterms:W3CDTF">2021-11-16T06:34:56Z</dcterms:modified>
</cp:coreProperties>
</file>